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9" r:id="rId1"/>
  </p:sldMasterIdLst>
  <p:notesMasterIdLst>
    <p:notesMasterId r:id="rId16"/>
  </p:notesMasterIdLst>
  <p:sldIdLst>
    <p:sldId id="1790" r:id="rId2"/>
    <p:sldId id="1795" r:id="rId3"/>
    <p:sldId id="1791" r:id="rId4"/>
    <p:sldId id="1796" r:id="rId5"/>
    <p:sldId id="779" r:id="rId6"/>
    <p:sldId id="1803" r:id="rId7"/>
    <p:sldId id="1801" r:id="rId8"/>
    <p:sldId id="1797" r:id="rId9"/>
    <p:sldId id="1798" r:id="rId10"/>
    <p:sldId id="1802" r:id="rId11"/>
    <p:sldId id="1804" r:id="rId12"/>
    <p:sldId id="457" r:id="rId13"/>
    <p:sldId id="719" r:id="rId14"/>
    <p:sldId id="180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DE5B4A-6036-4A88-8E65-6B6EEFD4A662}" v="2601" dt="2022-10-27T20:03:47.315"/>
    <p1510:client id="{3B366ED2-2F98-4181-885D-C19D7436E096}" v="162" dt="2022-10-27T17:33:41.822"/>
    <p1510:client id="{3D8E7D40-4761-4AEA-8A8D-7C8B39A4775A}" v="4" dt="2022-10-26T20:28:28.049"/>
    <p1510:client id="{50F545A0-DB47-4AB5-B980-1A4170FAE0E1}" v="202" dt="2022-10-27T17:36:10.206"/>
    <p1510:client id="{515F38FF-8C42-4CA4-9744-AAABC3A0063F}" v="237" vWet="238" dt="2022-10-27T17:43:55.936"/>
    <p1510:client id="{59359B5E-FAF5-4148-AD2E-226CF9E70D96}" v="318" dt="2022-10-26T20:57:49.462"/>
    <p1510:client id="{7F14503C-A906-4A0E-8031-4FFC2D951CE1}" v="3487" dt="2022-10-26T20:14:58.043"/>
    <p1510:client id="{B2F7851D-E505-4F50-9042-2A49462FF63F}" v="23" dt="2022-10-27T14:08:21.4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thcart, Alex" userId="05962915-de22-4fd1-8c05-3b26da3d783f" providerId="ADAL" clId="{3B366ED2-2F98-4181-885D-C19D7436E096}"/>
    <pc:docChg chg="undo custSel modSld sldOrd modMainMaster">
      <pc:chgData name="Cathcart, Alex" userId="05962915-de22-4fd1-8c05-3b26da3d783f" providerId="ADAL" clId="{3B366ED2-2F98-4181-885D-C19D7436E096}" dt="2022-10-27T17:33:41.822" v="156" actId="207"/>
      <pc:docMkLst>
        <pc:docMk/>
      </pc:docMkLst>
      <pc:sldChg chg="ord">
        <pc:chgData name="Cathcart, Alex" userId="05962915-de22-4fd1-8c05-3b26da3d783f" providerId="ADAL" clId="{3B366ED2-2F98-4181-885D-C19D7436E096}" dt="2022-10-27T17:18:24.621" v="10"/>
        <pc:sldMkLst>
          <pc:docMk/>
          <pc:sldMk cId="3102866459" sldId="779"/>
        </pc:sldMkLst>
      </pc:sldChg>
      <pc:sldChg chg="modSp mod">
        <pc:chgData name="Cathcart, Alex" userId="05962915-de22-4fd1-8c05-3b26da3d783f" providerId="ADAL" clId="{3B366ED2-2F98-4181-885D-C19D7436E096}" dt="2022-10-27T17:33:02.009" v="139" actId="207"/>
        <pc:sldMkLst>
          <pc:docMk/>
          <pc:sldMk cId="197330321" sldId="1797"/>
        </pc:sldMkLst>
        <pc:spChg chg="mod">
          <ac:chgData name="Cathcart, Alex" userId="05962915-de22-4fd1-8c05-3b26da3d783f" providerId="ADAL" clId="{3B366ED2-2F98-4181-885D-C19D7436E096}" dt="2022-10-27T17:33:02.009" v="139" actId="207"/>
          <ac:spMkLst>
            <pc:docMk/>
            <pc:sldMk cId="197330321" sldId="1797"/>
            <ac:spMk id="7" creationId="{DE31774E-5D23-A1E6-1DB9-B5DBFA745D8E}"/>
          </ac:spMkLst>
        </pc:spChg>
      </pc:sldChg>
      <pc:sldChg chg="modSp mod">
        <pc:chgData name="Cathcart, Alex" userId="05962915-de22-4fd1-8c05-3b26da3d783f" providerId="ADAL" clId="{3B366ED2-2F98-4181-885D-C19D7436E096}" dt="2022-10-27T17:33:41.822" v="156" actId="207"/>
        <pc:sldMkLst>
          <pc:docMk/>
          <pc:sldMk cId="1293087361" sldId="1798"/>
        </pc:sldMkLst>
        <pc:spChg chg="mod">
          <ac:chgData name="Cathcart, Alex" userId="05962915-de22-4fd1-8c05-3b26da3d783f" providerId="ADAL" clId="{3B366ED2-2F98-4181-885D-C19D7436E096}" dt="2022-10-27T17:33:41.822" v="156" actId="207"/>
          <ac:spMkLst>
            <pc:docMk/>
            <pc:sldMk cId="1293087361" sldId="1798"/>
            <ac:spMk id="7" creationId="{DE31774E-5D23-A1E6-1DB9-B5DBFA745D8E}"/>
          </ac:spMkLst>
        </pc:spChg>
      </pc:sldChg>
      <pc:sldChg chg="modSp mod">
        <pc:chgData name="Cathcart, Alex" userId="05962915-de22-4fd1-8c05-3b26da3d783f" providerId="ADAL" clId="{3B366ED2-2F98-4181-885D-C19D7436E096}" dt="2022-10-27T17:32:23.734" v="120" actId="20577"/>
        <pc:sldMkLst>
          <pc:docMk/>
          <pc:sldMk cId="3372800696" sldId="1801"/>
        </pc:sldMkLst>
        <pc:spChg chg="mod">
          <ac:chgData name="Cathcart, Alex" userId="05962915-de22-4fd1-8c05-3b26da3d783f" providerId="ADAL" clId="{3B366ED2-2F98-4181-885D-C19D7436E096}" dt="2022-10-27T17:30:54.335" v="104" actId="20577"/>
          <ac:spMkLst>
            <pc:docMk/>
            <pc:sldMk cId="3372800696" sldId="1801"/>
            <ac:spMk id="5" creationId="{7F9EF06B-676F-3F31-4102-CEC2B947D4EF}"/>
          </ac:spMkLst>
        </pc:spChg>
        <pc:spChg chg="mod">
          <ac:chgData name="Cathcart, Alex" userId="05962915-de22-4fd1-8c05-3b26da3d783f" providerId="ADAL" clId="{3B366ED2-2F98-4181-885D-C19D7436E096}" dt="2022-10-27T17:32:23.734" v="120" actId="20577"/>
          <ac:spMkLst>
            <pc:docMk/>
            <pc:sldMk cId="3372800696" sldId="1801"/>
            <ac:spMk id="7" creationId="{DE31774E-5D23-A1E6-1DB9-B5DBFA745D8E}"/>
          </ac:spMkLst>
        </pc:spChg>
      </pc:sldChg>
      <pc:sldChg chg="addSp delSp modSp mod">
        <pc:chgData name="Cathcart, Alex" userId="05962915-de22-4fd1-8c05-3b26da3d783f" providerId="ADAL" clId="{3B366ED2-2F98-4181-885D-C19D7436E096}" dt="2022-10-27T17:27:31.645" v="24" actId="1035"/>
        <pc:sldMkLst>
          <pc:docMk/>
          <pc:sldMk cId="2073585440" sldId="1803"/>
        </pc:sldMkLst>
        <pc:spChg chg="mod">
          <ac:chgData name="Cathcart, Alex" userId="05962915-de22-4fd1-8c05-3b26da3d783f" providerId="ADAL" clId="{3B366ED2-2F98-4181-885D-C19D7436E096}" dt="2022-10-27T17:21:40.788" v="11" actId="20577"/>
          <ac:spMkLst>
            <pc:docMk/>
            <pc:sldMk cId="2073585440" sldId="1803"/>
            <ac:spMk id="9" creationId="{16DFA5BF-711F-4500-5B49-07DEEEB5149E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18" creationId="{A0CFD553-B3A6-44BA-AC01-0069F0FEB3BA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19" creationId="{55C78325-11BE-44AC-B93C-EBA149BD8ACF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0" creationId="{31E832D7-E8EF-4201-A98B-7C33BD242FA8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1" creationId="{723DF195-DF7B-4C72-9D2D-4DD40BCAFE2C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2" creationId="{754173E3-41F1-47DE-9483-D741A52A3126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3" creationId="{1912EE69-C66A-47C6-9B07-BE339CC2217D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4" creationId="{EAFD4E3D-D0E9-4958-95C4-C43319CF042B}"/>
          </ac:spMkLst>
        </pc:spChg>
        <pc:spChg chg="mod">
          <ac:chgData name="Cathcart, Alex" userId="05962915-de22-4fd1-8c05-3b26da3d783f" providerId="ADAL" clId="{3B366ED2-2F98-4181-885D-C19D7436E096}" dt="2022-10-27T17:27:09.619" v="15"/>
          <ac:spMkLst>
            <pc:docMk/>
            <pc:sldMk cId="2073585440" sldId="1803"/>
            <ac:spMk id="25" creationId="{915BC4F7-6C72-497E-BF6E-C729675B54CB}"/>
          </ac:spMkLst>
        </pc:spChg>
        <pc:grpChg chg="add mod">
          <ac:chgData name="Cathcart, Alex" userId="05962915-de22-4fd1-8c05-3b26da3d783f" providerId="ADAL" clId="{3B366ED2-2F98-4181-885D-C19D7436E096}" dt="2022-10-27T17:27:31.645" v="24" actId="1035"/>
          <ac:grpSpMkLst>
            <pc:docMk/>
            <pc:sldMk cId="2073585440" sldId="1803"/>
            <ac:grpSpMk id="17" creationId="{747EA86C-A86C-42A0-96EE-B0D2322E6A67}"/>
          </ac:grpSpMkLst>
        </pc:grpChg>
        <pc:picChg chg="del">
          <ac:chgData name="Cathcart, Alex" userId="05962915-de22-4fd1-8c05-3b26da3d783f" providerId="ADAL" clId="{3B366ED2-2F98-4181-885D-C19D7436E096}" dt="2022-10-27T17:24:53.061" v="13" actId="478"/>
          <ac:picMkLst>
            <pc:docMk/>
            <pc:sldMk cId="2073585440" sldId="1803"/>
            <ac:picMk id="14" creationId="{02AC1601-43B0-41F8-FF30-D1441A6B6D76}"/>
          </ac:picMkLst>
        </pc:picChg>
        <pc:picChg chg="add mod">
          <ac:chgData name="Cathcart, Alex" userId="05962915-de22-4fd1-8c05-3b26da3d783f" providerId="ADAL" clId="{3B366ED2-2F98-4181-885D-C19D7436E096}" dt="2022-10-27T17:24:50.202" v="12"/>
          <ac:picMkLst>
            <pc:docMk/>
            <pc:sldMk cId="2073585440" sldId="1803"/>
            <ac:picMk id="15" creationId="{EB447650-B018-41A6-BE70-466D8A103E41}"/>
          </ac:picMkLst>
        </pc:picChg>
        <pc:picChg chg="del">
          <ac:chgData name="Cathcart, Alex" userId="05962915-de22-4fd1-8c05-3b26da3d783f" providerId="ADAL" clId="{3B366ED2-2F98-4181-885D-C19D7436E096}" dt="2022-10-27T17:24:56.837" v="14" actId="478"/>
          <ac:picMkLst>
            <pc:docMk/>
            <pc:sldMk cId="2073585440" sldId="1803"/>
            <ac:picMk id="16" creationId="{192EC1AE-2B29-B9B5-309D-26D1B16448AB}"/>
          </ac:picMkLst>
        </pc:picChg>
      </pc:sldChg>
      <pc:sldMasterChg chg="addSp delSp modSp mod">
        <pc:chgData name="Cathcart, Alex" userId="05962915-de22-4fd1-8c05-3b26da3d783f" providerId="ADAL" clId="{3B366ED2-2F98-4181-885D-C19D7436E096}" dt="2022-10-26T16:16:04.395" v="8" actId="478"/>
        <pc:sldMasterMkLst>
          <pc:docMk/>
          <pc:sldMasterMk cId="1510044244" sldId="2147483839"/>
        </pc:sldMasterMkLst>
        <pc:spChg chg="add del mod">
          <ac:chgData name="Cathcart, Alex" userId="05962915-de22-4fd1-8c05-3b26da3d783f" providerId="ADAL" clId="{3B366ED2-2F98-4181-885D-C19D7436E096}" dt="2022-10-26T16:15:59.902" v="7"/>
          <ac:spMkLst>
            <pc:docMk/>
            <pc:sldMasterMk cId="1510044244" sldId="2147483839"/>
            <ac:spMk id="18" creationId="{00000000-0000-0000-0000-000000000000}"/>
          </ac:spMkLst>
        </pc:spChg>
        <pc:picChg chg="add del mod">
          <ac:chgData name="Cathcart, Alex" userId="05962915-de22-4fd1-8c05-3b26da3d783f" providerId="ADAL" clId="{3B366ED2-2F98-4181-885D-C19D7436E096}" dt="2022-10-26T16:16:04.395" v="8" actId="478"/>
          <ac:picMkLst>
            <pc:docMk/>
            <pc:sldMasterMk cId="1510044244" sldId="2147483839"/>
            <ac:picMk id="1027" creationId="{D901A865-3AC8-40C3-B036-5DD194704A32}"/>
          </ac:picMkLst>
        </pc:picChg>
      </pc:sldMasterChg>
    </pc:docChg>
  </pc:docChgLst>
  <pc:docChgLst>
    <pc:chgData name="Wagner, Mason" userId="S::maswagner@deloitte.com::f1c33596-bee1-4a78-989b-e0dcd1a9a344" providerId="AD" clId="Web-{FF135A95-4641-474B-B516-BF02213DC752}"/>
    <pc:docChg chg="modSld">
      <pc:chgData name="Wagner, Mason" userId="S::maswagner@deloitte.com::f1c33596-bee1-4a78-989b-e0dcd1a9a344" providerId="AD" clId="Web-{FF135A95-4641-474B-B516-BF02213DC752}" dt="2022-10-26T16:05:36.614" v="232" actId="1076"/>
      <pc:docMkLst>
        <pc:docMk/>
      </pc:docMkLst>
      <pc:sldChg chg="addSp delSp modSp">
        <pc:chgData name="Wagner, Mason" userId="S::maswagner@deloitte.com::f1c33596-bee1-4a78-989b-e0dcd1a9a344" providerId="AD" clId="Web-{FF135A95-4641-474B-B516-BF02213DC752}" dt="2022-10-26T16:05:36.614" v="232" actId="1076"/>
        <pc:sldMkLst>
          <pc:docMk/>
          <pc:sldMk cId="681282729" sldId="1795"/>
        </pc:sldMkLst>
        <pc:spChg chg="mod">
          <ac:chgData name="Wagner, Mason" userId="S::maswagner@deloitte.com::f1c33596-bee1-4a78-989b-e0dcd1a9a344" providerId="AD" clId="Web-{FF135A95-4641-474B-B516-BF02213DC752}" dt="2022-10-26T15:58:01.193" v="167" actId="20577"/>
          <ac:spMkLst>
            <pc:docMk/>
            <pc:sldMk cId="681282729" sldId="1795"/>
            <ac:spMk id="4" creationId="{40B9048D-FF26-B68A-452B-580E9E1CF08A}"/>
          </ac:spMkLst>
        </pc:spChg>
        <pc:spChg chg="add mod">
          <ac:chgData name="Wagner, Mason" userId="S::maswagner@deloitte.com::f1c33596-bee1-4a78-989b-e0dcd1a9a344" providerId="AD" clId="Web-{FF135A95-4641-474B-B516-BF02213DC752}" dt="2022-10-26T16:05:17.456" v="229" actId="1076"/>
          <ac:spMkLst>
            <pc:docMk/>
            <pc:sldMk cId="681282729" sldId="1795"/>
            <ac:spMk id="6" creationId="{89F2A90C-FB2E-9369-F302-4F09D5FAA2CC}"/>
          </ac:spMkLst>
        </pc:spChg>
        <pc:spChg chg="add mod">
          <ac:chgData name="Wagner, Mason" userId="S::maswagner@deloitte.com::f1c33596-bee1-4a78-989b-e0dcd1a9a344" providerId="AD" clId="Web-{FF135A95-4641-474B-B516-BF02213DC752}" dt="2022-10-26T16:05:36.614" v="232" actId="1076"/>
          <ac:spMkLst>
            <pc:docMk/>
            <pc:sldMk cId="681282729" sldId="1795"/>
            <ac:spMk id="10" creationId="{C2290A8E-783C-A952-8223-175ACBB04A5A}"/>
          </ac:spMkLst>
        </pc:spChg>
        <pc:spChg chg="add mod">
          <ac:chgData name="Wagner, Mason" userId="S::maswagner@deloitte.com::f1c33596-bee1-4a78-989b-e0dcd1a9a344" providerId="AD" clId="Web-{FF135A95-4641-474B-B516-BF02213DC752}" dt="2022-10-26T16:05:32.535" v="231" actId="1076"/>
          <ac:spMkLst>
            <pc:docMk/>
            <pc:sldMk cId="681282729" sldId="1795"/>
            <ac:spMk id="14" creationId="{B427C810-7C5A-E91E-ED19-5E86BFF18D96}"/>
          </ac:spMkLst>
        </pc:spChg>
        <pc:spChg chg="add mod">
          <ac:chgData name="Wagner, Mason" userId="S::maswagner@deloitte.com::f1c33596-bee1-4a78-989b-e0dcd1a9a344" providerId="AD" clId="Web-{FF135A95-4641-474B-B516-BF02213DC752}" dt="2022-10-26T16:05:24.269" v="230" actId="1076"/>
          <ac:spMkLst>
            <pc:docMk/>
            <pc:sldMk cId="681282729" sldId="1795"/>
            <ac:spMk id="16" creationId="{FB717360-BD49-B21A-A73B-76D955CED601}"/>
          </ac:spMkLst>
        </pc:spChg>
        <pc:spChg chg="add del">
          <ac:chgData name="Wagner, Mason" userId="S::maswagner@deloitte.com::f1c33596-bee1-4a78-989b-e0dcd1a9a344" providerId="AD" clId="Web-{FF135A95-4641-474B-B516-BF02213DC752}" dt="2022-10-26T16:03:02.541" v="186"/>
          <ac:spMkLst>
            <pc:docMk/>
            <pc:sldMk cId="681282729" sldId="1795"/>
            <ac:spMk id="17" creationId="{0E1A7A4A-8270-C92E-27D5-90EA624A1745}"/>
          </ac:spMkLst>
        </pc:spChg>
        <pc:grpChg chg="add mod">
          <ac:chgData name="Wagner, Mason" userId="S::maswagner@deloitte.com::f1c33596-bee1-4a78-989b-e0dcd1a9a344" providerId="AD" clId="Web-{FF135A95-4641-474B-B516-BF02213DC752}" dt="2022-10-26T16:05:15.081" v="228" actId="1076"/>
          <ac:grpSpMkLst>
            <pc:docMk/>
            <pc:sldMk cId="681282729" sldId="1795"/>
            <ac:grpSpMk id="3" creationId="{0ADC112C-A4A2-D6FA-40CD-337B996D725A}"/>
          </ac:grpSpMkLst>
        </pc:grpChg>
        <pc:picChg chg="mod modCrop">
          <ac:chgData name="Wagner, Mason" userId="S::maswagner@deloitte.com::f1c33596-bee1-4a78-989b-e0dcd1a9a344" providerId="AD" clId="Web-{FF135A95-4641-474B-B516-BF02213DC752}" dt="2022-10-26T15:50:43.211" v="8" actId="1076"/>
          <ac:picMkLst>
            <pc:docMk/>
            <pc:sldMk cId="681282729" sldId="1795"/>
            <ac:picMk id="2" creationId="{28BE866F-D2AB-B00B-6902-1AA1D862462A}"/>
          </ac:picMkLst>
        </pc:picChg>
        <pc:picChg chg="mod modCrop">
          <ac:chgData name="Wagner, Mason" userId="S::maswagner@deloitte.com::f1c33596-bee1-4a78-989b-e0dcd1a9a344" providerId="AD" clId="Web-{FF135A95-4641-474B-B516-BF02213DC752}" dt="2022-10-26T15:51:08.150" v="13" actId="1076"/>
          <ac:picMkLst>
            <pc:docMk/>
            <pc:sldMk cId="681282729" sldId="1795"/>
            <ac:picMk id="12" creationId="{2BB09738-6B71-5189-26CB-0D190C515B55}"/>
          </ac:picMkLst>
        </pc:picChg>
        <pc:picChg chg="mod modCrop">
          <ac:chgData name="Wagner, Mason" userId="S::maswagner@deloitte.com::f1c33596-bee1-4a78-989b-e0dcd1a9a344" providerId="AD" clId="Web-{FF135A95-4641-474B-B516-BF02213DC752}" dt="2022-10-26T15:50:05.286" v="1"/>
          <ac:picMkLst>
            <pc:docMk/>
            <pc:sldMk cId="681282729" sldId="1795"/>
            <ac:picMk id="15" creationId="{692670B1-86E5-4C1B-80A0-BB7D22B45C82}"/>
          </ac:picMkLst>
        </pc:picChg>
      </pc:sldChg>
      <pc:sldChg chg="modSp">
        <pc:chgData name="Wagner, Mason" userId="S::maswagner@deloitte.com::f1c33596-bee1-4a78-989b-e0dcd1a9a344" providerId="AD" clId="Web-{FF135A95-4641-474B-B516-BF02213DC752}" dt="2022-10-26T15:59:57.263" v="168" actId="20577"/>
        <pc:sldMkLst>
          <pc:docMk/>
          <pc:sldMk cId="2447309153" sldId="1796"/>
        </pc:sldMkLst>
        <pc:spChg chg="mod">
          <ac:chgData name="Wagner, Mason" userId="S::maswagner@deloitte.com::f1c33596-bee1-4a78-989b-e0dcd1a9a344" providerId="AD" clId="Web-{FF135A95-4641-474B-B516-BF02213DC752}" dt="2022-10-26T15:59:57.263" v="168" actId="20577"/>
          <ac:spMkLst>
            <pc:docMk/>
            <pc:sldMk cId="2447309153" sldId="1796"/>
            <ac:spMk id="9" creationId="{16DFA5BF-711F-4500-5B49-07DEEEB5149E}"/>
          </ac:spMkLst>
        </pc:spChg>
      </pc:sldChg>
    </pc:docChg>
  </pc:docChgLst>
  <pc:docChgLst>
    <pc:chgData name="Cathcart, Alex" userId="S::acathcart@deloitte.com::05962915-de22-4fd1-8c05-3b26da3d783f" providerId="AD" clId="Web-{48E72199-1922-4C41-A8D2-9F9BEF991F38}"/>
    <pc:docChg chg="addSld delSld modSld">
      <pc:chgData name="Cathcart, Alex" userId="S::acathcart@deloitte.com::05962915-de22-4fd1-8c05-3b26da3d783f" providerId="AD" clId="Web-{48E72199-1922-4C41-A8D2-9F9BEF991F38}" dt="2022-10-26T19:13:24.976" v="1108" actId="20577"/>
      <pc:docMkLst>
        <pc:docMk/>
      </pc:docMkLst>
      <pc:sldChg chg="modSp">
        <pc:chgData name="Cathcart, Alex" userId="S::acathcart@deloitte.com::05962915-de22-4fd1-8c05-3b26da3d783f" providerId="AD" clId="Web-{48E72199-1922-4C41-A8D2-9F9BEF991F38}" dt="2022-10-26T19:10:25.591" v="1017" actId="1076"/>
        <pc:sldMkLst>
          <pc:docMk/>
          <pc:sldMk cId="1225603327" sldId="457"/>
        </pc:sldMkLst>
        <pc:spChg chg="mod">
          <ac:chgData name="Cathcart, Alex" userId="S::acathcart@deloitte.com::05962915-de22-4fd1-8c05-3b26da3d783f" providerId="AD" clId="Web-{48E72199-1922-4C41-A8D2-9F9BEF991F38}" dt="2022-10-26T19:10:25.591" v="1017" actId="1076"/>
          <ac:spMkLst>
            <pc:docMk/>
            <pc:sldMk cId="1225603327" sldId="457"/>
            <ac:spMk id="5" creationId="{03B7C34D-E025-01B9-84EC-4FAA7FBD4587}"/>
          </ac:spMkLst>
        </pc:spChg>
        <pc:spChg chg="mod">
          <ac:chgData name="Cathcart, Alex" userId="S::acathcart@deloitte.com::05962915-de22-4fd1-8c05-3b26da3d783f" providerId="AD" clId="Web-{48E72199-1922-4C41-A8D2-9F9BEF991F38}" dt="2022-10-26T19:08:53.304" v="949" actId="20577"/>
          <ac:spMkLst>
            <pc:docMk/>
            <pc:sldMk cId="1225603327" sldId="457"/>
            <ac:spMk id="7" creationId="{4EBD752C-3B6D-23A1-DBB7-C362B79B6CB6}"/>
          </ac:spMkLst>
        </pc:spChg>
        <pc:spChg chg="mod">
          <ac:chgData name="Cathcart, Alex" userId="S::acathcart@deloitte.com::05962915-de22-4fd1-8c05-3b26da3d783f" providerId="AD" clId="Web-{48E72199-1922-4C41-A8D2-9F9BEF991F38}" dt="2022-10-26T19:06:37.812" v="830" actId="20577"/>
          <ac:spMkLst>
            <pc:docMk/>
            <pc:sldMk cId="1225603327" sldId="457"/>
            <ac:spMk id="32" creationId="{D79FFC5F-5EB3-0BA1-D9FB-C2EC6D81CC8D}"/>
          </ac:spMkLst>
        </pc:spChg>
      </pc:sldChg>
      <pc:sldChg chg="addSp delSp modSp">
        <pc:chgData name="Cathcart, Alex" userId="S::acathcart@deloitte.com::05962915-de22-4fd1-8c05-3b26da3d783f" providerId="AD" clId="Web-{48E72199-1922-4C41-A8D2-9F9BEF991F38}" dt="2022-10-26T19:13:24.976" v="1108" actId="20577"/>
        <pc:sldMkLst>
          <pc:docMk/>
          <pc:sldMk cId="197330321" sldId="1797"/>
        </pc:sldMkLst>
        <pc:spChg chg="mod">
          <ac:chgData name="Cathcart, Alex" userId="S::acathcart@deloitte.com::05962915-de22-4fd1-8c05-3b26da3d783f" providerId="AD" clId="Web-{48E72199-1922-4C41-A8D2-9F9BEF991F38}" dt="2022-10-26T19:13:24.976" v="1108" actId="20577"/>
          <ac:spMkLst>
            <pc:docMk/>
            <pc:sldMk cId="197330321" sldId="1797"/>
            <ac:spMk id="10" creationId="{184BB420-3985-A09A-7EA7-5BDC2F3C3218}"/>
          </ac:spMkLst>
        </pc:spChg>
        <pc:picChg chg="add del mod">
          <ac:chgData name="Cathcart, Alex" userId="S::acathcart@deloitte.com::05962915-de22-4fd1-8c05-3b26da3d783f" providerId="AD" clId="Web-{48E72199-1922-4C41-A8D2-9F9BEF991F38}" dt="2022-10-26T17:40:21.524" v="210"/>
          <ac:picMkLst>
            <pc:docMk/>
            <pc:sldMk cId="197330321" sldId="1797"/>
            <ac:picMk id="3" creationId="{F987C606-A2F3-6542-16E0-83C0AA8CA6B8}"/>
          </ac:picMkLst>
        </pc:picChg>
        <pc:picChg chg="add mod">
          <ac:chgData name="Cathcart, Alex" userId="S::acathcart@deloitte.com::05962915-de22-4fd1-8c05-3b26da3d783f" providerId="AD" clId="Web-{48E72199-1922-4C41-A8D2-9F9BEF991F38}" dt="2022-10-26T17:43:08.389" v="227" actId="1076"/>
          <ac:picMkLst>
            <pc:docMk/>
            <pc:sldMk cId="197330321" sldId="1797"/>
            <ac:picMk id="5" creationId="{FAA31096-A6ED-C847-D2F5-F6B53ADB72F6}"/>
          </ac:picMkLst>
        </pc:picChg>
        <pc:picChg chg="add del">
          <ac:chgData name="Cathcart, Alex" userId="S::acathcart@deloitte.com::05962915-de22-4fd1-8c05-3b26da3d783f" providerId="AD" clId="Web-{48E72199-1922-4C41-A8D2-9F9BEF991F38}" dt="2022-10-26T17:40:51.119" v="219"/>
          <ac:picMkLst>
            <pc:docMk/>
            <pc:sldMk cId="197330321" sldId="1797"/>
            <ac:picMk id="9" creationId="{671D7D56-88B0-4711-5894-5B2BC0A98FB0}"/>
          </ac:picMkLst>
        </pc:picChg>
      </pc:sldChg>
      <pc:sldChg chg="addSp delSp modSp">
        <pc:chgData name="Cathcart, Alex" userId="S::acathcart@deloitte.com::05962915-de22-4fd1-8c05-3b26da3d783f" providerId="AD" clId="Web-{48E72199-1922-4C41-A8D2-9F9BEF991F38}" dt="2022-10-26T19:04:02.412" v="767" actId="20577"/>
        <pc:sldMkLst>
          <pc:docMk/>
          <pc:sldMk cId="1293087361" sldId="1798"/>
        </pc:sldMkLst>
        <pc:spChg chg="add mod ord">
          <ac:chgData name="Cathcart, Alex" userId="S::acathcart@deloitte.com::05962915-de22-4fd1-8c05-3b26da3d783f" providerId="AD" clId="Web-{48E72199-1922-4C41-A8D2-9F9BEF991F38}" dt="2022-10-26T17:45:11.362" v="243" actId="1076"/>
          <ac:spMkLst>
            <pc:docMk/>
            <pc:sldMk cId="1293087361" sldId="1798"/>
            <ac:spMk id="2" creationId="{1AC28279-3FA5-AF48-EA8F-6F2B18981D6D}"/>
          </ac:spMkLst>
        </pc:spChg>
        <pc:spChg chg="add mod">
          <ac:chgData name="Cathcart, Alex" userId="S::acathcart@deloitte.com::05962915-de22-4fd1-8c05-3b26da3d783f" providerId="AD" clId="Web-{48E72199-1922-4C41-A8D2-9F9BEF991F38}" dt="2022-10-26T17:45:16.581" v="244" actId="1076"/>
          <ac:spMkLst>
            <pc:docMk/>
            <pc:sldMk cId="1293087361" sldId="1798"/>
            <ac:spMk id="3" creationId="{75C15947-EB75-5D2E-F82F-CE9C08DF0A3F}"/>
          </ac:spMkLst>
        </pc:spChg>
        <pc:spChg chg="mod">
          <ac:chgData name="Cathcart, Alex" userId="S::acathcart@deloitte.com::05962915-de22-4fd1-8c05-3b26da3d783f" providerId="AD" clId="Web-{48E72199-1922-4C41-A8D2-9F9BEF991F38}" dt="2022-10-26T19:04:02.412" v="767" actId="20577"/>
          <ac:spMkLst>
            <pc:docMk/>
            <pc:sldMk cId="1293087361" sldId="1798"/>
            <ac:spMk id="18" creationId="{2E9A66C5-9E09-8BF3-8E72-98A5A0F96290}"/>
          </ac:spMkLst>
        </pc:spChg>
        <pc:picChg chg="add mod">
          <ac:chgData name="Cathcart, Alex" userId="S::acathcart@deloitte.com::05962915-de22-4fd1-8c05-3b26da3d783f" providerId="AD" clId="Web-{48E72199-1922-4C41-A8D2-9F9BEF991F38}" dt="2022-10-26T17:44:52.768" v="241" actId="1076"/>
          <ac:picMkLst>
            <pc:docMk/>
            <pc:sldMk cId="1293087361" sldId="1798"/>
            <ac:picMk id="5" creationId="{F7A1C0E4-4C16-B056-584E-92675FD650CA}"/>
          </ac:picMkLst>
        </pc:picChg>
        <pc:picChg chg="del">
          <ac:chgData name="Cathcart, Alex" userId="S::acathcart@deloitte.com::05962915-de22-4fd1-8c05-3b26da3d783f" providerId="AD" clId="Web-{48E72199-1922-4C41-A8D2-9F9BEF991F38}" dt="2022-10-26T17:44:04.110" v="233"/>
          <ac:picMkLst>
            <pc:docMk/>
            <pc:sldMk cId="1293087361" sldId="1798"/>
            <ac:picMk id="8" creationId="{5736F0C0-696D-50F3-5C03-C1D6DE33C18D}"/>
          </ac:picMkLst>
        </pc:picChg>
      </pc:sldChg>
      <pc:sldChg chg="addSp modSp del">
        <pc:chgData name="Cathcart, Alex" userId="S::acathcart@deloitte.com::05962915-de22-4fd1-8c05-3b26da3d783f" providerId="AD" clId="Web-{48E72199-1922-4C41-A8D2-9F9BEF991F38}" dt="2022-10-26T17:58:37.716" v="365"/>
        <pc:sldMkLst>
          <pc:docMk/>
          <pc:sldMk cId="3108468057" sldId="1799"/>
        </pc:sldMkLst>
        <pc:spChg chg="mod">
          <ac:chgData name="Cathcart, Alex" userId="S::acathcart@deloitte.com::05962915-de22-4fd1-8c05-3b26da3d783f" providerId="AD" clId="Web-{48E72199-1922-4C41-A8D2-9F9BEF991F38}" dt="2022-10-26T17:50:54.139" v="278" actId="1076"/>
          <ac:spMkLst>
            <pc:docMk/>
            <pc:sldMk cId="3108468057" sldId="1799"/>
            <ac:spMk id="12" creationId="{E97393F9-FCDE-A56B-473E-E72D328E6ABF}"/>
          </ac:spMkLst>
        </pc:spChg>
        <pc:picChg chg="add mod">
          <ac:chgData name="Cathcart, Alex" userId="S::acathcart@deloitte.com::05962915-de22-4fd1-8c05-3b26da3d783f" providerId="AD" clId="Web-{48E72199-1922-4C41-A8D2-9F9BEF991F38}" dt="2022-10-26T17:50:58.404" v="282" actId="1076"/>
          <ac:picMkLst>
            <pc:docMk/>
            <pc:sldMk cId="3108468057" sldId="1799"/>
            <ac:picMk id="2" creationId="{704CBD3A-DAD4-EA60-FE93-A33D2D3E388C}"/>
          </ac:picMkLst>
        </pc:picChg>
        <pc:picChg chg="add mod">
          <ac:chgData name="Cathcart, Alex" userId="S::acathcart@deloitte.com::05962915-de22-4fd1-8c05-3b26da3d783f" providerId="AD" clId="Web-{48E72199-1922-4C41-A8D2-9F9BEF991F38}" dt="2022-10-26T17:50:57.482" v="281" actId="1076"/>
          <ac:picMkLst>
            <pc:docMk/>
            <pc:sldMk cId="3108468057" sldId="1799"/>
            <ac:picMk id="3" creationId="{836A7805-43A4-95E0-183D-89191E437D55}"/>
          </ac:picMkLst>
        </pc:picChg>
      </pc:sldChg>
      <pc:sldChg chg="addSp delSp modSp add replId">
        <pc:chgData name="Cathcart, Alex" userId="S::acathcart@deloitte.com::05962915-de22-4fd1-8c05-3b26da3d783f" providerId="AD" clId="Web-{48E72199-1922-4C41-A8D2-9F9BEF991F38}" dt="2022-10-26T18:08:45.298" v="749" actId="1076"/>
        <pc:sldMkLst>
          <pc:docMk/>
          <pc:sldMk cId="3372800696" sldId="1801"/>
        </pc:sldMkLst>
        <pc:spChg chg="add mod">
          <ac:chgData name="Cathcart, Alex" userId="S::acathcart@deloitte.com::05962915-de22-4fd1-8c05-3b26da3d783f" providerId="AD" clId="Web-{48E72199-1922-4C41-A8D2-9F9BEF991F38}" dt="2022-10-26T18:08:18.563" v="748" actId="1076"/>
          <ac:spMkLst>
            <pc:docMk/>
            <pc:sldMk cId="3372800696" sldId="1801"/>
            <ac:spMk id="5" creationId="{7F9EF06B-676F-3F31-4102-CEC2B947D4EF}"/>
          </ac:spMkLst>
        </pc:spChg>
        <pc:spChg chg="add mod">
          <ac:chgData name="Cathcart, Alex" userId="S::acathcart@deloitte.com::05962915-de22-4fd1-8c05-3b26da3d783f" providerId="AD" clId="Web-{48E72199-1922-4C41-A8D2-9F9BEF991F38}" dt="2022-10-26T18:08:13.782" v="747" actId="1076"/>
          <ac:spMkLst>
            <pc:docMk/>
            <pc:sldMk cId="3372800696" sldId="1801"/>
            <ac:spMk id="6" creationId="{4E86F387-65B7-3794-6B12-33C40585166F}"/>
          </ac:spMkLst>
        </pc:spChg>
        <pc:spChg chg="mod">
          <ac:chgData name="Cathcart, Alex" userId="S::acathcart@deloitte.com::05962915-de22-4fd1-8c05-3b26da3d783f" providerId="AD" clId="Web-{48E72199-1922-4C41-A8D2-9F9BEF991F38}" dt="2022-10-26T17:57:04.463" v="357" actId="14100"/>
          <ac:spMkLst>
            <pc:docMk/>
            <pc:sldMk cId="3372800696" sldId="1801"/>
            <ac:spMk id="12" creationId="{E97393F9-FCDE-A56B-473E-E72D328E6ABF}"/>
          </ac:spMkLst>
        </pc:spChg>
        <pc:spChg chg="mod">
          <ac:chgData name="Cathcart, Alex" userId="S::acathcart@deloitte.com::05962915-de22-4fd1-8c05-3b26da3d783f" providerId="AD" clId="Web-{48E72199-1922-4C41-A8D2-9F9BEF991F38}" dt="2022-10-26T18:07:51.156" v="746" actId="1076"/>
          <ac:spMkLst>
            <pc:docMk/>
            <pc:sldMk cId="3372800696" sldId="1801"/>
            <ac:spMk id="13" creationId="{7C2ED225-CC3D-C247-E343-B7D234291A1B}"/>
          </ac:spMkLst>
        </pc:spChg>
        <pc:spChg chg="mod">
          <ac:chgData name="Cathcart, Alex" userId="S::acathcart@deloitte.com::05962915-de22-4fd1-8c05-3b26da3d783f" providerId="AD" clId="Web-{48E72199-1922-4C41-A8D2-9F9BEF991F38}" dt="2022-10-26T18:07:35.999" v="740" actId="1076"/>
          <ac:spMkLst>
            <pc:docMk/>
            <pc:sldMk cId="3372800696" sldId="1801"/>
            <ac:spMk id="14" creationId="{AF432B84-98E3-F5A9-A163-6015A94CEC4D}"/>
          </ac:spMkLst>
        </pc:spChg>
        <pc:picChg chg="mod">
          <ac:chgData name="Cathcart, Alex" userId="S::acathcart@deloitte.com::05962915-de22-4fd1-8c05-3b26da3d783f" providerId="AD" clId="Web-{48E72199-1922-4C41-A8D2-9F9BEF991F38}" dt="2022-10-26T17:57:18.542" v="359" actId="1076"/>
          <ac:picMkLst>
            <pc:docMk/>
            <pc:sldMk cId="3372800696" sldId="1801"/>
            <ac:picMk id="2" creationId="{704CBD3A-DAD4-EA60-FE93-A33D2D3E388C}"/>
          </ac:picMkLst>
        </pc:picChg>
        <pc:picChg chg="mod">
          <ac:chgData name="Cathcart, Alex" userId="S::acathcart@deloitte.com::05962915-de22-4fd1-8c05-3b26da3d783f" providerId="AD" clId="Web-{48E72199-1922-4C41-A8D2-9F9BEF991F38}" dt="2022-10-26T17:57:27.729" v="360" actId="1076"/>
          <ac:picMkLst>
            <pc:docMk/>
            <pc:sldMk cId="3372800696" sldId="1801"/>
            <ac:picMk id="3" creationId="{836A7805-43A4-95E0-183D-89191E437D55}"/>
          </ac:picMkLst>
        </pc:picChg>
        <pc:picChg chg="mod">
          <ac:chgData name="Cathcart, Alex" userId="S::acathcart@deloitte.com::05962915-de22-4fd1-8c05-3b26da3d783f" providerId="AD" clId="Web-{48E72199-1922-4C41-A8D2-9F9BEF991F38}" dt="2022-10-26T17:54:13.879" v="315" actId="1076"/>
          <ac:picMkLst>
            <pc:docMk/>
            <pc:sldMk cId="3372800696" sldId="1801"/>
            <ac:picMk id="9" creationId="{E2EACF58-D5AB-254A-19C1-8A330819F649}"/>
          </ac:picMkLst>
        </pc:picChg>
        <pc:picChg chg="add del ord">
          <ac:chgData name="Cathcart, Alex" userId="S::acathcart@deloitte.com::05962915-de22-4fd1-8c05-3b26da3d783f" providerId="AD" clId="Web-{48E72199-1922-4C41-A8D2-9F9BEF991F38}" dt="2022-10-26T17:53:53.894" v="312"/>
          <ac:picMkLst>
            <pc:docMk/>
            <pc:sldMk cId="3372800696" sldId="1801"/>
            <ac:picMk id="10" creationId="{B35F5217-D154-AD1A-6863-BC8549E3D9FB}"/>
          </ac:picMkLst>
        </pc:picChg>
        <pc:picChg chg="mod">
          <ac:chgData name="Cathcart, Alex" userId="S::acathcart@deloitte.com::05962915-de22-4fd1-8c05-3b26da3d783f" providerId="AD" clId="Web-{48E72199-1922-4C41-A8D2-9F9BEF991F38}" dt="2022-10-26T18:08:45.298" v="749" actId="1076"/>
          <ac:picMkLst>
            <pc:docMk/>
            <pc:sldMk cId="3372800696" sldId="1801"/>
            <ac:picMk id="11" creationId="{D169F1E4-0EAA-B2D1-3FBD-C50FB78BD5AF}"/>
          </ac:picMkLst>
        </pc:picChg>
      </pc:sldChg>
    </pc:docChg>
  </pc:docChgLst>
  <pc:docChgLst>
    <pc:chgData name="Cathcart, Alex" userId="S::acathcart@deloitte.com::05962915-de22-4fd1-8c05-3b26da3d783f" providerId="AD" clId="Web-{50BFE6C4-6DB5-46CF-8349-98203F3CA203}"/>
    <pc:docChg chg="modSld">
      <pc:chgData name="Cathcart, Alex" userId="S::acathcart@deloitte.com::05962915-de22-4fd1-8c05-3b26da3d783f" providerId="AD" clId="Web-{50BFE6C4-6DB5-46CF-8349-98203F3CA203}" dt="2022-10-26T17:09:59.047" v="454" actId="20577"/>
      <pc:docMkLst>
        <pc:docMk/>
      </pc:docMkLst>
      <pc:sldChg chg="modSp">
        <pc:chgData name="Cathcart, Alex" userId="S::acathcart@deloitte.com::05962915-de22-4fd1-8c05-3b26da3d783f" providerId="AD" clId="Web-{50BFE6C4-6DB5-46CF-8349-98203F3CA203}" dt="2022-10-26T17:03:57.851" v="151" actId="20577"/>
        <pc:sldMkLst>
          <pc:docMk/>
          <pc:sldMk cId="1225603327" sldId="457"/>
        </pc:sldMkLst>
        <pc:spChg chg="mod">
          <ac:chgData name="Cathcart, Alex" userId="S::acathcart@deloitte.com::05962915-de22-4fd1-8c05-3b26da3d783f" providerId="AD" clId="Web-{50BFE6C4-6DB5-46CF-8349-98203F3CA203}" dt="2022-10-26T16:30:05.412" v="95" actId="20577"/>
          <ac:spMkLst>
            <pc:docMk/>
            <pc:sldMk cId="1225603327" sldId="457"/>
            <ac:spMk id="2" creationId="{A7882C1E-3F46-B21B-670C-CA43D5815F8F}"/>
          </ac:spMkLst>
        </pc:spChg>
        <pc:spChg chg="mod">
          <ac:chgData name="Cathcart, Alex" userId="S::acathcart@deloitte.com::05962915-de22-4fd1-8c05-3b26da3d783f" providerId="AD" clId="Web-{50BFE6C4-6DB5-46CF-8349-98203F3CA203}" dt="2022-10-26T17:03:57.851" v="151" actId="20577"/>
          <ac:spMkLst>
            <pc:docMk/>
            <pc:sldMk cId="1225603327" sldId="457"/>
            <ac:spMk id="3" creationId="{00000000-0000-0000-0000-000000000000}"/>
          </ac:spMkLst>
        </pc:spChg>
      </pc:sldChg>
      <pc:sldChg chg="delSp modSp">
        <pc:chgData name="Cathcart, Alex" userId="S::acathcart@deloitte.com::05962915-de22-4fd1-8c05-3b26da3d783f" providerId="AD" clId="Web-{50BFE6C4-6DB5-46CF-8349-98203F3CA203}" dt="2022-10-26T16:30:17.022" v="101" actId="20577"/>
        <pc:sldMkLst>
          <pc:docMk/>
          <pc:sldMk cId="3102866459" sldId="779"/>
        </pc:sldMkLst>
        <pc:spChg chg="mod">
          <ac:chgData name="Cathcart, Alex" userId="S::acathcart@deloitte.com::05962915-de22-4fd1-8c05-3b26da3d783f" providerId="AD" clId="Web-{50BFE6C4-6DB5-46CF-8349-98203F3CA203}" dt="2022-10-26T16:22:54.496" v="73" actId="20577"/>
          <ac:spMkLst>
            <pc:docMk/>
            <pc:sldMk cId="3102866459" sldId="779"/>
            <ac:spMk id="3" creationId="{F52C0ACD-0D98-4DE6-9146-54BD5195D6AF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231" v="85" actId="1076"/>
          <ac:spMkLst>
            <pc:docMk/>
            <pc:sldMk cId="3102866459" sldId="779"/>
            <ac:spMk id="4" creationId="{052D3AF8-C069-BFF8-CB53-9C58EA8EE5C3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246" v="86" actId="1076"/>
          <ac:spMkLst>
            <pc:docMk/>
            <pc:sldMk cId="3102866459" sldId="779"/>
            <ac:spMk id="5" creationId="{156238EA-9910-422C-C492-35D25AD8467F}"/>
          </ac:spMkLst>
        </pc:spChg>
        <pc:spChg chg="del mod">
          <ac:chgData name="Cathcart, Alex" userId="S::acathcart@deloitte.com::05962915-de22-4fd1-8c05-3b26da3d783f" providerId="AD" clId="Web-{50BFE6C4-6DB5-46CF-8349-98203F3CA203}" dt="2022-10-26T16:19:23.053" v="28"/>
          <ac:spMkLst>
            <pc:docMk/>
            <pc:sldMk cId="3102866459" sldId="779"/>
            <ac:spMk id="6" creationId="{C718A569-21C0-1BB5-3FA4-4FD8B426DAE1}"/>
          </ac:spMkLst>
        </pc:spChg>
        <pc:spChg chg="mod">
          <ac:chgData name="Cathcart, Alex" userId="S::acathcart@deloitte.com::05962915-de22-4fd1-8c05-3b26da3d783f" providerId="AD" clId="Web-{50BFE6C4-6DB5-46CF-8349-98203F3CA203}" dt="2022-10-26T16:30:17.022" v="101" actId="20577"/>
          <ac:spMkLst>
            <pc:docMk/>
            <pc:sldMk cId="3102866459" sldId="779"/>
            <ac:spMk id="7" creationId="{13BFA71B-0196-D0A2-53FD-2D348E757707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262" v="88" actId="1076"/>
          <ac:spMkLst>
            <pc:docMk/>
            <pc:sldMk cId="3102866459" sldId="779"/>
            <ac:spMk id="9" creationId="{AE0A6794-46CC-DB7A-A333-E56B679275CA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153" v="74" actId="1076"/>
          <ac:spMkLst>
            <pc:docMk/>
            <pc:sldMk cId="3102866459" sldId="779"/>
            <ac:spMk id="19" creationId="{A83E7845-F5A4-435F-A034-85FE37A0D924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153" v="75" actId="1076"/>
          <ac:spMkLst>
            <pc:docMk/>
            <pc:sldMk cId="3102866459" sldId="779"/>
            <ac:spMk id="20" creationId="{A6783977-F4C9-4789-B6EB-03F2478728D2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168" v="76" actId="1076"/>
          <ac:spMkLst>
            <pc:docMk/>
            <pc:sldMk cId="3102866459" sldId="779"/>
            <ac:spMk id="21" creationId="{A7404E68-8F6E-4415-B6E0-2E21A5998844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168" v="77" actId="1076"/>
          <ac:spMkLst>
            <pc:docMk/>
            <pc:sldMk cId="3102866459" sldId="779"/>
            <ac:spMk id="22" creationId="{7BB796F0-2DE6-45B1-851B-D8991F423CF4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184" v="78" actId="1076"/>
          <ac:spMkLst>
            <pc:docMk/>
            <pc:sldMk cId="3102866459" sldId="779"/>
            <ac:spMk id="23" creationId="{4CD23CFE-3F31-4BA9-B26F-B9B5B351518E}"/>
          </ac:spMkLst>
        </pc:spChg>
        <pc:spChg chg="mod">
          <ac:chgData name="Cathcart, Alex" userId="S::acathcart@deloitte.com::05962915-de22-4fd1-8c05-3b26da3d783f" providerId="AD" clId="Web-{50BFE6C4-6DB5-46CF-8349-98203F3CA203}" dt="2022-10-26T16:23:17.200" v="79" actId="1076"/>
          <ac:spMkLst>
            <pc:docMk/>
            <pc:sldMk cId="3102866459" sldId="779"/>
            <ac:spMk id="24" creationId="{4F0DE697-EE87-4D12-9875-D2453715F08D}"/>
          </ac:spMkLst>
        </pc:spChg>
        <pc:spChg chg="del mod">
          <ac:chgData name="Cathcart, Alex" userId="S::acathcart@deloitte.com::05962915-de22-4fd1-8c05-3b26da3d783f" providerId="AD" clId="Web-{50BFE6C4-6DB5-46CF-8349-98203F3CA203}" dt="2022-10-26T16:22:09.198" v="67"/>
          <ac:spMkLst>
            <pc:docMk/>
            <pc:sldMk cId="3102866459" sldId="779"/>
            <ac:spMk id="28" creationId="{9B9B23AA-050D-4543-80A0-873FE31AFFF7}"/>
          </ac:spMkLst>
        </pc:spChg>
        <pc:grpChg chg="mod">
          <ac:chgData name="Cathcart, Alex" userId="S::acathcart@deloitte.com::05962915-de22-4fd1-8c05-3b26da3d783f" providerId="AD" clId="Web-{50BFE6C4-6DB5-46CF-8349-98203F3CA203}" dt="2022-10-26T16:23:17.200" v="80" actId="1076"/>
          <ac:grpSpMkLst>
            <pc:docMk/>
            <pc:sldMk cId="3102866459" sldId="779"/>
            <ac:grpSpMk id="25" creationId="{7B424503-728B-4986-8C7A-8D08147061B7}"/>
          </ac:grpSpMkLst>
        </pc:grpChg>
        <pc:picChg chg="del">
          <ac:chgData name="Cathcart, Alex" userId="S::acathcart@deloitte.com::05962915-de22-4fd1-8c05-3b26da3d783f" providerId="AD" clId="Web-{50BFE6C4-6DB5-46CF-8349-98203F3CA203}" dt="2022-10-26T16:16:48.206" v="0"/>
          <ac:picMkLst>
            <pc:docMk/>
            <pc:sldMk cId="3102866459" sldId="779"/>
            <ac:picMk id="2" creationId="{17DD1176-1DC7-E3EE-BFE3-1C3A5B2ADA8C}"/>
          </ac:picMkLst>
        </pc:picChg>
        <pc:picChg chg="mod">
          <ac:chgData name="Cathcart, Alex" userId="S::acathcart@deloitte.com::05962915-de22-4fd1-8c05-3b26da3d783f" providerId="AD" clId="Web-{50BFE6C4-6DB5-46CF-8349-98203F3CA203}" dt="2022-10-26T16:18:16.443" v="6" actId="1076"/>
          <ac:picMkLst>
            <pc:docMk/>
            <pc:sldMk cId="3102866459" sldId="779"/>
            <ac:picMk id="15" creationId="{A60A4AD2-51DC-691A-4F94-16410EB07C97}"/>
          </ac:picMkLst>
        </pc:picChg>
        <pc:cxnChg chg="mod">
          <ac:chgData name="Cathcart, Alex" userId="S::acathcart@deloitte.com::05962915-de22-4fd1-8c05-3b26da3d783f" providerId="AD" clId="Web-{50BFE6C4-6DB5-46CF-8349-98203F3CA203}" dt="2022-10-26T16:23:17.215" v="81" actId="1076"/>
          <ac:cxnSpMkLst>
            <pc:docMk/>
            <pc:sldMk cId="3102866459" sldId="779"/>
            <ac:cxnSpMk id="29" creationId="{09E553D9-3562-45A7-BE4B-0F12FAA0490F}"/>
          </ac:cxnSpMkLst>
        </pc:cxnChg>
        <pc:cxnChg chg="mod">
          <ac:chgData name="Cathcart, Alex" userId="S::acathcart@deloitte.com::05962915-de22-4fd1-8c05-3b26da3d783f" providerId="AD" clId="Web-{50BFE6C4-6DB5-46CF-8349-98203F3CA203}" dt="2022-10-26T16:23:17.215" v="82" actId="1076"/>
          <ac:cxnSpMkLst>
            <pc:docMk/>
            <pc:sldMk cId="3102866459" sldId="779"/>
            <ac:cxnSpMk id="30" creationId="{DA735D38-741F-4EFB-826C-6F87FD459AB4}"/>
          </ac:cxnSpMkLst>
        </pc:cxnChg>
        <pc:cxnChg chg="mod">
          <ac:chgData name="Cathcart, Alex" userId="S::acathcart@deloitte.com::05962915-de22-4fd1-8c05-3b26da3d783f" providerId="AD" clId="Web-{50BFE6C4-6DB5-46CF-8349-98203F3CA203}" dt="2022-10-26T16:23:17.231" v="83" actId="1076"/>
          <ac:cxnSpMkLst>
            <pc:docMk/>
            <pc:sldMk cId="3102866459" sldId="779"/>
            <ac:cxnSpMk id="31" creationId="{EBCFE36B-AE16-49E8-90A6-6621A0EB0473}"/>
          </ac:cxnSpMkLst>
        </pc:cxnChg>
        <pc:cxnChg chg="mod">
          <ac:chgData name="Cathcart, Alex" userId="S::acathcart@deloitte.com::05962915-de22-4fd1-8c05-3b26da3d783f" providerId="AD" clId="Web-{50BFE6C4-6DB5-46CF-8349-98203F3CA203}" dt="2022-10-26T16:23:17.231" v="84" actId="1076"/>
          <ac:cxnSpMkLst>
            <pc:docMk/>
            <pc:sldMk cId="3102866459" sldId="779"/>
            <ac:cxnSpMk id="32" creationId="{2697F6E2-C26B-4E5F-B7F9-95C6E9325040}"/>
          </ac:cxnSpMkLst>
        </pc:cxnChg>
      </pc:sldChg>
      <pc:sldChg chg="addSp delSp modSp">
        <pc:chgData name="Cathcart, Alex" userId="S::acathcart@deloitte.com::05962915-de22-4fd1-8c05-3b26da3d783f" providerId="AD" clId="Web-{50BFE6C4-6DB5-46CF-8349-98203F3CA203}" dt="2022-10-26T17:07:08.949" v="244" actId="1076"/>
        <pc:sldMkLst>
          <pc:docMk/>
          <pc:sldMk cId="197330321" sldId="1797"/>
        </pc:sldMkLst>
        <pc:spChg chg="mod">
          <ac:chgData name="Cathcart, Alex" userId="S::acathcart@deloitte.com::05962915-de22-4fd1-8c05-3b26da3d783f" providerId="AD" clId="Web-{50BFE6C4-6DB5-46CF-8349-98203F3CA203}" dt="2022-10-26T17:07:08.949" v="244" actId="1076"/>
          <ac:spMkLst>
            <pc:docMk/>
            <pc:sldMk cId="197330321" sldId="1797"/>
            <ac:spMk id="4" creationId="{B7D0FEE9-B395-B628-6E12-91BCF66D9A6C}"/>
          </ac:spMkLst>
        </pc:spChg>
        <pc:spChg chg="mod">
          <ac:chgData name="Cathcart, Alex" userId="S::acathcart@deloitte.com::05962915-de22-4fd1-8c05-3b26da3d783f" providerId="AD" clId="Web-{50BFE6C4-6DB5-46CF-8349-98203F3CA203}" dt="2022-10-26T16:42:04.070" v="112" actId="1076"/>
          <ac:spMkLst>
            <pc:docMk/>
            <pc:sldMk cId="197330321" sldId="1797"/>
            <ac:spMk id="10" creationId="{184BB420-3985-A09A-7EA7-5BDC2F3C3218}"/>
          </ac:spMkLst>
        </pc:spChg>
        <pc:picChg chg="mod">
          <ac:chgData name="Cathcart, Alex" userId="S::acathcart@deloitte.com::05962915-de22-4fd1-8c05-3b26da3d783f" providerId="AD" clId="Web-{50BFE6C4-6DB5-46CF-8349-98203F3CA203}" dt="2022-10-26T16:48:46.580" v="120"/>
          <ac:picMkLst>
            <pc:docMk/>
            <pc:sldMk cId="197330321" sldId="1797"/>
            <ac:picMk id="2" creationId="{89083761-B61F-F3C8-B7DC-EEA82191B749}"/>
          </ac:picMkLst>
        </pc:picChg>
        <pc:picChg chg="add del mod">
          <ac:chgData name="Cathcart, Alex" userId="S::acathcart@deloitte.com::05962915-de22-4fd1-8c05-3b26da3d783f" providerId="AD" clId="Web-{50BFE6C4-6DB5-46CF-8349-98203F3CA203}" dt="2022-10-26T16:52:01.053" v="126"/>
          <ac:picMkLst>
            <pc:docMk/>
            <pc:sldMk cId="197330321" sldId="1797"/>
            <ac:picMk id="6" creationId="{9270E763-DDE4-9FD5-7DDE-8F11BD7227DB}"/>
          </ac:picMkLst>
        </pc:picChg>
      </pc:sldChg>
      <pc:sldChg chg="addSp delSp modSp">
        <pc:chgData name="Cathcart, Alex" userId="S::acathcart@deloitte.com::05962915-de22-4fd1-8c05-3b26da3d783f" providerId="AD" clId="Web-{50BFE6C4-6DB5-46CF-8349-98203F3CA203}" dt="2022-10-26T17:09:59.047" v="454" actId="20577"/>
        <pc:sldMkLst>
          <pc:docMk/>
          <pc:sldMk cId="1293087361" sldId="1798"/>
        </pc:sldMkLst>
        <pc:spChg chg="mod">
          <ac:chgData name="Cathcart, Alex" userId="S::acathcart@deloitte.com::05962915-de22-4fd1-8c05-3b26da3d783f" providerId="AD" clId="Web-{50BFE6C4-6DB5-46CF-8349-98203F3CA203}" dt="2022-10-26T17:08:03.841" v="247" actId="1076"/>
          <ac:spMkLst>
            <pc:docMk/>
            <pc:sldMk cId="1293087361" sldId="1798"/>
            <ac:spMk id="4" creationId="{B7D0FEE9-B395-B628-6E12-91BCF66D9A6C}"/>
          </ac:spMkLst>
        </pc:spChg>
        <pc:spChg chg="add">
          <ac:chgData name="Cathcart, Alex" userId="S::acathcart@deloitte.com::05962915-de22-4fd1-8c05-3b26da3d783f" providerId="AD" clId="Web-{50BFE6C4-6DB5-46CF-8349-98203F3CA203}" dt="2022-10-26T16:54:31.853" v="127"/>
          <ac:spMkLst>
            <pc:docMk/>
            <pc:sldMk cId="1293087361" sldId="1798"/>
            <ac:spMk id="9" creationId="{410EF4F8-6987-0BA8-A954-740D7430F21E}"/>
          </ac:spMkLst>
        </pc:spChg>
        <pc:spChg chg="mod">
          <ac:chgData name="Cathcart, Alex" userId="S::acathcart@deloitte.com::05962915-de22-4fd1-8c05-3b26da3d783f" providerId="AD" clId="Web-{50BFE6C4-6DB5-46CF-8349-98203F3CA203}" dt="2022-10-26T17:09:59.047" v="454" actId="20577"/>
          <ac:spMkLst>
            <pc:docMk/>
            <pc:sldMk cId="1293087361" sldId="1798"/>
            <ac:spMk id="18" creationId="{2E9A66C5-9E09-8BF3-8E72-98A5A0F96290}"/>
          </ac:spMkLst>
        </pc:spChg>
        <pc:picChg chg="add del">
          <ac:chgData name="Cathcart, Alex" userId="S::acathcart@deloitte.com::05962915-de22-4fd1-8c05-3b26da3d783f" providerId="AD" clId="Web-{50BFE6C4-6DB5-46CF-8349-98203F3CA203}" dt="2022-10-26T16:57:06.591" v="133"/>
          <ac:picMkLst>
            <pc:docMk/>
            <pc:sldMk cId="1293087361" sldId="1798"/>
            <ac:picMk id="13" creationId="{E6EBF3F2-5BE0-F483-9A15-CC8C2F830B77}"/>
          </ac:picMkLst>
        </pc:picChg>
        <pc:picChg chg="add del mod">
          <ac:chgData name="Cathcart, Alex" userId="S::acathcart@deloitte.com::05962915-de22-4fd1-8c05-3b26da3d783f" providerId="AD" clId="Web-{50BFE6C4-6DB5-46CF-8349-98203F3CA203}" dt="2022-10-26T16:56:29.137" v="131"/>
          <ac:picMkLst>
            <pc:docMk/>
            <pc:sldMk cId="1293087361" sldId="1798"/>
            <ac:picMk id="14" creationId="{6CBAA4C3-525E-F53C-DA2E-27C9631DDAAA}"/>
          </ac:picMkLst>
        </pc:picChg>
        <pc:picChg chg="add del mod">
          <ac:chgData name="Cathcart, Alex" userId="S::acathcart@deloitte.com::05962915-de22-4fd1-8c05-3b26da3d783f" providerId="AD" clId="Web-{50BFE6C4-6DB5-46CF-8349-98203F3CA203}" dt="2022-10-26T16:58:59.766" v="139"/>
          <ac:picMkLst>
            <pc:docMk/>
            <pc:sldMk cId="1293087361" sldId="1798"/>
            <ac:picMk id="15" creationId="{3C986C5C-366D-B41A-FC37-63690DBD47F2}"/>
          </ac:picMkLst>
        </pc:picChg>
        <pc:picChg chg="add del mod">
          <ac:chgData name="Cathcart, Alex" userId="S::acathcart@deloitte.com::05962915-de22-4fd1-8c05-3b26da3d783f" providerId="AD" clId="Web-{50BFE6C4-6DB5-46CF-8349-98203F3CA203}" dt="2022-10-26T17:00:28.268" v="142"/>
          <ac:picMkLst>
            <pc:docMk/>
            <pc:sldMk cId="1293087361" sldId="1798"/>
            <ac:picMk id="16" creationId="{D927DA7F-854D-ACD3-800D-4C664F0CE0FF}"/>
          </ac:picMkLst>
        </pc:picChg>
      </pc:sldChg>
    </pc:docChg>
  </pc:docChgLst>
  <pc:docChgLst>
    <pc:chgData name="Saracho Sandin, Luis Fernando" userId="S::lsarachosandin@deloitte.com::64c9d1a7-aa51-4f26-9333-1a205a883043" providerId="AD" clId="Web-{3D8E7D40-4761-4AEA-8A8D-7C8B39A4775A}"/>
    <pc:docChg chg="modSld">
      <pc:chgData name="Saracho Sandin, Luis Fernando" userId="S::lsarachosandin@deloitte.com::64c9d1a7-aa51-4f26-9333-1a205a883043" providerId="AD" clId="Web-{3D8E7D40-4761-4AEA-8A8D-7C8B39A4775A}" dt="2022-10-26T20:28:28.049" v="3"/>
      <pc:docMkLst>
        <pc:docMk/>
      </pc:docMkLst>
      <pc:sldChg chg="modSp">
        <pc:chgData name="Saracho Sandin, Luis Fernando" userId="S::lsarachosandin@deloitte.com::64c9d1a7-aa51-4f26-9333-1a205a883043" providerId="AD" clId="Web-{3D8E7D40-4761-4AEA-8A8D-7C8B39A4775A}" dt="2022-10-26T20:16:44.868" v="2" actId="1076"/>
        <pc:sldMkLst>
          <pc:docMk/>
          <pc:sldMk cId="3801425194" sldId="719"/>
        </pc:sldMkLst>
        <pc:spChg chg="mod">
          <ac:chgData name="Saracho Sandin, Luis Fernando" userId="S::lsarachosandin@deloitte.com::64c9d1a7-aa51-4f26-9333-1a205a883043" providerId="AD" clId="Web-{3D8E7D40-4761-4AEA-8A8D-7C8B39A4775A}" dt="2022-10-26T20:16:44.868" v="2" actId="1076"/>
          <ac:spMkLst>
            <pc:docMk/>
            <pc:sldMk cId="3801425194" sldId="719"/>
            <ac:spMk id="3" creationId="{BF39FE45-2A4F-0224-4E18-4B83161A20C8}"/>
          </ac:spMkLst>
        </pc:spChg>
        <pc:spChg chg="mod">
          <ac:chgData name="Saracho Sandin, Luis Fernando" userId="S::lsarachosandin@deloitte.com::64c9d1a7-aa51-4f26-9333-1a205a883043" providerId="AD" clId="Web-{3D8E7D40-4761-4AEA-8A8D-7C8B39A4775A}" dt="2022-10-26T20:15:25.787" v="0" actId="1076"/>
          <ac:spMkLst>
            <pc:docMk/>
            <pc:sldMk cId="3801425194" sldId="719"/>
            <ac:spMk id="9" creationId="{A1DC8EF3-DD2E-1F37-99F3-E1E63E62C785}"/>
          </ac:spMkLst>
        </pc:spChg>
      </pc:sldChg>
      <pc:sldChg chg="delSp">
        <pc:chgData name="Saracho Sandin, Luis Fernando" userId="S::lsarachosandin@deloitte.com::64c9d1a7-aa51-4f26-9333-1a205a883043" providerId="AD" clId="Web-{3D8E7D40-4761-4AEA-8A8D-7C8B39A4775A}" dt="2022-10-26T20:28:28.049" v="3"/>
        <pc:sldMkLst>
          <pc:docMk/>
          <pc:sldMk cId="816324306" sldId="1790"/>
        </pc:sldMkLst>
        <pc:spChg chg="del">
          <ac:chgData name="Saracho Sandin, Luis Fernando" userId="S::lsarachosandin@deloitte.com::64c9d1a7-aa51-4f26-9333-1a205a883043" providerId="AD" clId="Web-{3D8E7D40-4761-4AEA-8A8D-7C8B39A4775A}" dt="2022-10-26T20:28:28.049" v="3"/>
          <ac:spMkLst>
            <pc:docMk/>
            <pc:sldMk cId="816324306" sldId="1790"/>
            <ac:spMk id="3" creationId="{61527056-865F-4ED8-A6B1-6765D9F4A3C3}"/>
          </ac:spMkLst>
        </pc:spChg>
      </pc:sldChg>
    </pc:docChg>
  </pc:docChgLst>
  <pc:docChgLst>
    <pc:chgData name="Saracho Sandin, Luis Fernando" userId="S::lsarachosandin@deloitte.com::64c9d1a7-aa51-4f26-9333-1a205a883043" providerId="AD" clId="Web-{E00B92F7-E01C-4E85-9A37-F0F76D25E074}"/>
    <pc:docChg chg="modSld">
      <pc:chgData name="Saracho Sandin, Luis Fernando" userId="S::lsarachosandin@deloitte.com::64c9d1a7-aa51-4f26-9333-1a205a883043" providerId="AD" clId="Web-{E00B92F7-E01C-4E85-9A37-F0F76D25E074}" dt="2022-10-26T18:15:01.271" v="51" actId="20577"/>
      <pc:docMkLst>
        <pc:docMk/>
      </pc:docMkLst>
      <pc:sldChg chg="modSp">
        <pc:chgData name="Saracho Sandin, Luis Fernando" userId="S::lsarachosandin@deloitte.com::64c9d1a7-aa51-4f26-9333-1a205a883043" providerId="AD" clId="Web-{E00B92F7-E01C-4E85-9A37-F0F76D25E074}" dt="2022-10-26T18:15:01.271" v="51" actId="20577"/>
        <pc:sldMkLst>
          <pc:docMk/>
          <pc:sldMk cId="1225603327" sldId="457"/>
        </pc:sldMkLst>
        <pc:spChg chg="mod">
          <ac:chgData name="Saracho Sandin, Luis Fernando" userId="S::lsarachosandin@deloitte.com::64c9d1a7-aa51-4f26-9333-1a205a883043" providerId="AD" clId="Web-{E00B92F7-E01C-4E85-9A37-F0F76D25E074}" dt="2022-10-26T18:15:01.271" v="51" actId="20577"/>
          <ac:spMkLst>
            <pc:docMk/>
            <pc:sldMk cId="1225603327" sldId="457"/>
            <ac:spMk id="32" creationId="{D79FFC5F-5EB3-0BA1-D9FB-C2EC6D81CC8D}"/>
          </ac:spMkLst>
        </pc:spChg>
      </pc:sldChg>
      <pc:sldChg chg="addSp delSp">
        <pc:chgData name="Saracho Sandin, Luis Fernando" userId="S::lsarachosandin@deloitte.com::64c9d1a7-aa51-4f26-9333-1a205a883043" providerId="AD" clId="Web-{E00B92F7-E01C-4E85-9A37-F0F76D25E074}" dt="2022-10-26T18:01:24.069" v="30"/>
        <pc:sldMkLst>
          <pc:docMk/>
          <pc:sldMk cId="197330321" sldId="1797"/>
        </pc:sldMkLst>
        <pc:inkChg chg="add del">
          <ac:chgData name="Saracho Sandin, Luis Fernando" userId="S::lsarachosandin@deloitte.com::64c9d1a7-aa51-4f26-9333-1a205a883043" providerId="AD" clId="Web-{E00B92F7-E01C-4E85-9A37-F0F76D25E074}" dt="2022-10-26T18:01:24.069" v="30"/>
          <ac:inkMkLst>
            <pc:docMk/>
            <pc:sldMk cId="197330321" sldId="1797"/>
            <ac:inkMk id="3" creationId="{271705C2-4D28-348E-A4ED-58C2AB0E6266}"/>
          </ac:inkMkLst>
        </pc:inkChg>
        <pc:inkChg chg="add del">
          <ac:chgData name="Saracho Sandin, Luis Fernando" userId="S::lsarachosandin@deloitte.com::64c9d1a7-aa51-4f26-9333-1a205a883043" providerId="AD" clId="Web-{E00B92F7-E01C-4E85-9A37-F0F76D25E074}" dt="2022-10-26T18:01:23.116" v="29"/>
          <ac:inkMkLst>
            <pc:docMk/>
            <pc:sldMk cId="197330321" sldId="1797"/>
            <ac:inkMk id="6" creationId="{F9FEE6E1-8179-7417-BA0E-38C9B6413C9D}"/>
          </ac:inkMkLst>
        </pc:inkChg>
      </pc:sldChg>
      <pc:sldChg chg="addSp delSp modSp">
        <pc:chgData name="Saracho Sandin, Luis Fernando" userId="S::lsarachosandin@deloitte.com::64c9d1a7-aa51-4f26-9333-1a205a883043" providerId="AD" clId="Web-{E00B92F7-E01C-4E85-9A37-F0F76D25E074}" dt="2022-10-26T17:53:34.864" v="4"/>
        <pc:sldMkLst>
          <pc:docMk/>
          <pc:sldMk cId="3108468057" sldId="1799"/>
        </pc:sldMkLst>
        <pc:picChg chg="add del mod">
          <ac:chgData name="Saracho Sandin, Luis Fernando" userId="S::lsarachosandin@deloitte.com::64c9d1a7-aa51-4f26-9333-1a205a883043" providerId="AD" clId="Web-{E00B92F7-E01C-4E85-9A37-F0F76D25E074}" dt="2022-10-26T17:53:34.864" v="4"/>
          <ac:picMkLst>
            <pc:docMk/>
            <pc:sldMk cId="3108468057" sldId="1799"/>
            <ac:picMk id="5" creationId="{30BA7B3B-3A57-0E0F-B4D2-B8E2F85878C4}"/>
          </ac:picMkLst>
        </pc:picChg>
      </pc:sldChg>
      <pc:sldChg chg="addSp delSp">
        <pc:chgData name="Saracho Sandin, Luis Fernando" userId="S::lsarachosandin@deloitte.com::64c9d1a7-aa51-4f26-9333-1a205a883043" providerId="AD" clId="Web-{E00B92F7-E01C-4E85-9A37-F0F76D25E074}" dt="2022-10-26T18:00:19.285" v="26"/>
        <pc:sldMkLst>
          <pc:docMk/>
          <pc:sldMk cId="1809093023" sldId="1800"/>
        </pc:sldMkLst>
        <pc:inkChg chg="add del">
          <ac:chgData name="Saracho Sandin, Luis Fernando" userId="S::lsarachosandin@deloitte.com::64c9d1a7-aa51-4f26-9333-1a205a883043" providerId="AD" clId="Web-{E00B92F7-E01C-4E85-9A37-F0F76D25E074}" dt="2022-10-26T18:00:19.285" v="26"/>
          <ac:inkMkLst>
            <pc:docMk/>
            <pc:sldMk cId="1809093023" sldId="1800"/>
            <ac:inkMk id="2" creationId="{9CD2F29C-250A-4178-50F1-4222D1B6B94B}"/>
          </ac:inkMkLst>
        </pc:inkChg>
        <pc:inkChg chg="add del">
          <ac:chgData name="Saracho Sandin, Luis Fernando" userId="S::lsarachosandin@deloitte.com::64c9d1a7-aa51-4f26-9333-1a205a883043" providerId="AD" clId="Web-{E00B92F7-E01C-4E85-9A37-F0F76D25E074}" dt="2022-10-26T18:00:19.285" v="25"/>
          <ac:inkMkLst>
            <pc:docMk/>
            <pc:sldMk cId="1809093023" sldId="1800"/>
            <ac:inkMk id="4" creationId="{F68A0FFF-9BED-8FEE-0C14-EC305E79CC30}"/>
          </ac:inkMkLst>
        </pc:inkChg>
        <pc:inkChg chg="add del">
          <ac:chgData name="Saracho Sandin, Luis Fernando" userId="S::lsarachosandin@deloitte.com::64c9d1a7-aa51-4f26-9333-1a205a883043" providerId="AD" clId="Web-{E00B92F7-E01C-4E85-9A37-F0F76D25E074}" dt="2022-10-26T18:00:19.285" v="24"/>
          <ac:inkMkLst>
            <pc:docMk/>
            <pc:sldMk cId="1809093023" sldId="1800"/>
            <ac:inkMk id="5" creationId="{F7064B0D-178E-158D-36EB-7BA6DDA2A9C6}"/>
          </ac:inkMkLst>
        </pc:inkChg>
        <pc:inkChg chg="add del">
          <ac:chgData name="Saracho Sandin, Luis Fernando" userId="S::lsarachosandin@deloitte.com::64c9d1a7-aa51-4f26-9333-1a205a883043" providerId="AD" clId="Web-{E00B92F7-E01C-4E85-9A37-F0F76D25E074}" dt="2022-10-26T18:00:19.285" v="23"/>
          <ac:inkMkLst>
            <pc:docMk/>
            <pc:sldMk cId="1809093023" sldId="1800"/>
            <ac:inkMk id="6" creationId="{9F519F70-59DC-1A21-F864-E6FF00A0A5B3}"/>
          </ac:inkMkLst>
        </pc:inkChg>
      </pc:sldChg>
      <pc:sldChg chg="addSp modSp">
        <pc:chgData name="Saracho Sandin, Luis Fernando" userId="S::lsarachosandin@deloitte.com::64c9d1a7-aa51-4f26-9333-1a205a883043" providerId="AD" clId="Web-{E00B92F7-E01C-4E85-9A37-F0F76D25E074}" dt="2022-10-26T18:02:35.618" v="48" actId="1076"/>
        <pc:sldMkLst>
          <pc:docMk/>
          <pc:sldMk cId="3372800696" sldId="1801"/>
        </pc:sldMkLst>
        <pc:spChg chg="mod">
          <ac:chgData name="Saracho Sandin, Luis Fernando" userId="S::lsarachosandin@deloitte.com::64c9d1a7-aa51-4f26-9333-1a205a883043" providerId="AD" clId="Web-{E00B92F7-E01C-4E85-9A37-F0F76D25E074}" dt="2022-10-26T17:56:39.965" v="15" actId="1076"/>
          <ac:spMkLst>
            <pc:docMk/>
            <pc:sldMk cId="3372800696" sldId="1801"/>
            <ac:spMk id="4" creationId="{B7D0FEE9-B395-B628-6E12-91BCF66D9A6C}"/>
          </ac:spMkLst>
        </pc:spChg>
        <pc:spChg chg="mod">
          <ac:chgData name="Saracho Sandin, Luis Fernando" userId="S::lsarachosandin@deloitte.com::64c9d1a7-aa51-4f26-9333-1a205a883043" providerId="AD" clId="Web-{E00B92F7-E01C-4E85-9A37-F0F76D25E074}" dt="2022-10-26T17:56:34.261" v="14" actId="1076"/>
          <ac:spMkLst>
            <pc:docMk/>
            <pc:sldMk cId="3372800696" sldId="1801"/>
            <ac:spMk id="7" creationId="{DE31774E-5D23-A1E6-1DB9-B5DBFA745D8E}"/>
          </ac:spMkLst>
        </pc:spChg>
        <pc:spChg chg="add mod">
          <ac:chgData name="Saracho Sandin, Luis Fernando" userId="S::lsarachosandin@deloitte.com::64c9d1a7-aa51-4f26-9333-1a205a883043" providerId="AD" clId="Web-{E00B92F7-E01C-4E85-9A37-F0F76D25E074}" dt="2022-10-26T18:02:17.962" v="45" actId="1076"/>
          <ac:spMkLst>
            <pc:docMk/>
            <pc:sldMk cId="3372800696" sldId="1801"/>
            <ac:spMk id="13" creationId="{7C2ED225-CC3D-C247-E343-B7D234291A1B}"/>
          </ac:spMkLst>
        </pc:spChg>
        <pc:picChg chg="mod">
          <ac:chgData name="Saracho Sandin, Luis Fernando" userId="S::lsarachosandin@deloitte.com::64c9d1a7-aa51-4f26-9333-1a205a883043" providerId="AD" clId="Web-{E00B92F7-E01C-4E85-9A37-F0F76D25E074}" dt="2022-10-26T17:56:48.059" v="16" actId="1076"/>
          <ac:picMkLst>
            <pc:docMk/>
            <pc:sldMk cId="3372800696" sldId="1801"/>
            <ac:picMk id="2" creationId="{704CBD3A-DAD4-EA60-FE93-A33D2D3E388C}"/>
          </ac:picMkLst>
        </pc:picChg>
        <pc:picChg chg="mod">
          <ac:chgData name="Saracho Sandin, Luis Fernando" userId="S::lsarachosandin@deloitte.com::64c9d1a7-aa51-4f26-9333-1a205a883043" providerId="AD" clId="Web-{E00B92F7-E01C-4E85-9A37-F0F76D25E074}" dt="2022-10-26T17:56:55.762" v="17" actId="1076"/>
          <ac:picMkLst>
            <pc:docMk/>
            <pc:sldMk cId="3372800696" sldId="1801"/>
            <ac:picMk id="3" creationId="{836A7805-43A4-95E0-183D-89191E437D55}"/>
          </ac:picMkLst>
        </pc:picChg>
        <pc:picChg chg="add mod">
          <ac:chgData name="Saracho Sandin, Luis Fernando" userId="S::lsarachosandin@deloitte.com::64c9d1a7-aa51-4f26-9333-1a205a883043" providerId="AD" clId="Web-{E00B92F7-E01C-4E85-9A37-F0F76D25E074}" dt="2022-10-26T17:53:30.848" v="3" actId="1076"/>
          <ac:picMkLst>
            <pc:docMk/>
            <pc:sldMk cId="3372800696" sldId="1801"/>
            <ac:picMk id="9" creationId="{E2EACF58-D5AB-254A-19C1-8A330819F649}"/>
          </ac:picMkLst>
        </pc:picChg>
        <pc:picChg chg="mod">
          <ac:chgData name="Saracho Sandin, Luis Fernando" userId="S::lsarachosandin@deloitte.com::64c9d1a7-aa51-4f26-9333-1a205a883043" providerId="AD" clId="Web-{E00B92F7-E01C-4E85-9A37-F0F76D25E074}" dt="2022-10-26T18:02:35.618" v="48" actId="1076"/>
          <ac:picMkLst>
            <pc:docMk/>
            <pc:sldMk cId="3372800696" sldId="1801"/>
            <ac:picMk id="11" creationId="{D169F1E4-0EAA-B2D1-3FBD-C50FB78BD5AF}"/>
          </ac:picMkLst>
        </pc:picChg>
      </pc:sldChg>
    </pc:docChg>
  </pc:docChgLst>
  <pc:docChgLst>
    <pc:chgData name="Cathcart, Alex" userId="S::acathcart@deloitte.com::05962915-de22-4fd1-8c05-3b26da3d783f" providerId="AD" clId="Web-{FD9A6848-BB96-4F7A-AF99-AF1955D25E67}"/>
    <pc:docChg chg="modSld">
      <pc:chgData name="Cathcart, Alex" userId="S::acathcart@deloitte.com::05962915-de22-4fd1-8c05-3b26da3d783f" providerId="AD" clId="Web-{FD9A6848-BB96-4F7A-AF99-AF1955D25E67}" dt="2022-10-26T16:05:55.486" v="298" actId="20577"/>
      <pc:docMkLst>
        <pc:docMk/>
      </pc:docMkLst>
      <pc:sldChg chg="addSp modSp">
        <pc:chgData name="Cathcart, Alex" userId="S::acathcart@deloitte.com::05962915-de22-4fd1-8c05-3b26da3d783f" providerId="AD" clId="Web-{FD9A6848-BB96-4F7A-AF99-AF1955D25E67}" dt="2022-10-26T16:05:55.486" v="298" actId="20577"/>
        <pc:sldMkLst>
          <pc:docMk/>
          <pc:sldMk cId="3102866459" sldId="779"/>
        </pc:sldMkLst>
        <pc:spChg chg="add mod">
          <ac:chgData name="Cathcart, Alex" userId="S::acathcart@deloitte.com::05962915-de22-4fd1-8c05-3b26da3d783f" providerId="AD" clId="Web-{FD9A6848-BB96-4F7A-AF99-AF1955D25E67}" dt="2022-10-26T16:05:55.486" v="298" actId="20577"/>
          <ac:spMkLst>
            <pc:docMk/>
            <pc:sldMk cId="3102866459" sldId="779"/>
            <ac:spMk id="4" creationId="{052D3AF8-C069-BFF8-CB53-9C58EA8EE5C3}"/>
          </ac:spMkLst>
        </pc:spChg>
      </pc:sldChg>
      <pc:sldChg chg="modSp">
        <pc:chgData name="Cathcart, Alex" userId="S::acathcart@deloitte.com::05962915-de22-4fd1-8c05-3b26da3d783f" providerId="AD" clId="Web-{FD9A6848-BB96-4F7A-AF99-AF1955D25E67}" dt="2022-10-26T15:49:00.418" v="57" actId="20577"/>
        <pc:sldMkLst>
          <pc:docMk/>
          <pc:sldMk cId="816324306" sldId="1790"/>
        </pc:sldMkLst>
        <pc:spChg chg="mod">
          <ac:chgData name="Cathcart, Alex" userId="S::acathcart@deloitte.com::05962915-de22-4fd1-8c05-3b26da3d783f" providerId="AD" clId="Web-{FD9A6848-BB96-4F7A-AF99-AF1955D25E67}" dt="2022-10-26T15:49:00.418" v="57" actId="20577"/>
          <ac:spMkLst>
            <pc:docMk/>
            <pc:sldMk cId="816324306" sldId="1790"/>
            <ac:spMk id="12" creationId="{C2F03B24-5911-487D-A541-83315BB92292}"/>
          </ac:spMkLst>
        </pc:spChg>
      </pc:sldChg>
      <pc:sldChg chg="modSp">
        <pc:chgData name="Cathcart, Alex" userId="S::acathcart@deloitte.com::05962915-de22-4fd1-8c05-3b26da3d783f" providerId="AD" clId="Web-{FD9A6848-BB96-4F7A-AF99-AF1955D25E67}" dt="2022-10-26T15:43:30.907" v="13" actId="20577"/>
        <pc:sldMkLst>
          <pc:docMk/>
          <pc:sldMk cId="2954052399" sldId="1791"/>
        </pc:sldMkLst>
        <pc:spChg chg="mod">
          <ac:chgData name="Cathcart, Alex" userId="S::acathcart@deloitte.com::05962915-de22-4fd1-8c05-3b26da3d783f" providerId="AD" clId="Web-{FD9A6848-BB96-4F7A-AF99-AF1955D25E67}" dt="2022-10-26T15:43:30.907" v="13" actId="20577"/>
          <ac:spMkLst>
            <pc:docMk/>
            <pc:sldMk cId="2954052399" sldId="1791"/>
            <ac:spMk id="3" creationId="{00000000-0000-0000-0000-000000000000}"/>
          </ac:spMkLst>
        </pc:spChg>
      </pc:sldChg>
      <pc:sldChg chg="addSp modSp">
        <pc:chgData name="Cathcart, Alex" userId="S::acathcart@deloitte.com::05962915-de22-4fd1-8c05-3b26da3d783f" providerId="AD" clId="Web-{FD9A6848-BB96-4F7A-AF99-AF1955D25E67}" dt="2022-10-26T15:34:34.138" v="9" actId="1076"/>
        <pc:sldMkLst>
          <pc:docMk/>
          <pc:sldMk cId="681282729" sldId="1795"/>
        </pc:sldMkLst>
        <pc:picChg chg="add mod">
          <ac:chgData name="Cathcart, Alex" userId="S::acathcart@deloitte.com::05962915-de22-4fd1-8c05-3b26da3d783f" providerId="AD" clId="Web-{FD9A6848-BB96-4F7A-AF99-AF1955D25E67}" dt="2022-10-26T15:34:34.138" v="9" actId="1076"/>
          <ac:picMkLst>
            <pc:docMk/>
            <pc:sldMk cId="681282729" sldId="1795"/>
            <ac:picMk id="13" creationId="{6036385F-3658-3134-A38F-6228D50F38AA}"/>
          </ac:picMkLst>
        </pc:picChg>
      </pc:sldChg>
      <pc:sldChg chg="addSp delSp modSp">
        <pc:chgData name="Cathcart, Alex" userId="S::acathcart@deloitte.com::05962915-de22-4fd1-8c05-3b26da3d783f" providerId="AD" clId="Web-{FD9A6848-BB96-4F7A-AF99-AF1955D25E67}" dt="2022-10-26T16:00:09.567" v="295" actId="20577"/>
        <pc:sldMkLst>
          <pc:docMk/>
          <pc:sldMk cId="2447309153" sldId="1796"/>
        </pc:sldMkLst>
        <pc:spChg chg="del mod">
          <ac:chgData name="Cathcart, Alex" userId="S::acathcart@deloitte.com::05962915-de22-4fd1-8c05-3b26da3d783f" providerId="AD" clId="Web-{FD9A6848-BB96-4F7A-AF99-AF1955D25E67}" dt="2022-10-26T15:49:27.544" v="58"/>
          <ac:spMkLst>
            <pc:docMk/>
            <pc:sldMk cId="2447309153" sldId="1796"/>
            <ac:spMk id="3" creationId="{98AE882D-5B28-83CA-7E8B-9AFDB7D33B21}"/>
          </ac:spMkLst>
        </pc:spChg>
        <pc:spChg chg="mod">
          <ac:chgData name="Cathcart, Alex" userId="S::acathcart@deloitte.com::05962915-de22-4fd1-8c05-3b26da3d783f" providerId="AD" clId="Web-{FD9A6848-BB96-4F7A-AF99-AF1955D25E67}" dt="2022-10-26T16:00:09.567" v="295" actId="20577"/>
          <ac:spMkLst>
            <pc:docMk/>
            <pc:sldMk cId="2447309153" sldId="1796"/>
            <ac:spMk id="4" creationId="{13D0A514-CF7A-14E6-B760-48163CF3D589}"/>
          </ac:spMkLst>
        </pc:spChg>
        <pc:spChg chg="mod">
          <ac:chgData name="Cathcart, Alex" userId="S::acathcart@deloitte.com::05962915-de22-4fd1-8c05-3b26da3d783f" providerId="AD" clId="Web-{FD9A6848-BB96-4F7A-AF99-AF1955D25E67}" dt="2022-10-26T15:43:39.751" v="15" actId="20577"/>
          <ac:spMkLst>
            <pc:docMk/>
            <pc:sldMk cId="2447309153" sldId="1796"/>
            <ac:spMk id="7" creationId="{FF6813EE-0735-E519-F75E-5CB8B320F077}"/>
          </ac:spMkLst>
        </pc:spChg>
        <pc:spChg chg="add mod">
          <ac:chgData name="Cathcart, Alex" userId="S::acathcart@deloitte.com::05962915-de22-4fd1-8c05-3b26da3d783f" providerId="AD" clId="Web-{FD9A6848-BB96-4F7A-AF99-AF1955D25E67}" dt="2022-10-26T15:59:05.549" v="279" actId="1076"/>
          <ac:spMkLst>
            <pc:docMk/>
            <pc:sldMk cId="2447309153" sldId="1796"/>
            <ac:spMk id="9" creationId="{16DFA5BF-711F-4500-5B49-07DEEEB5149E}"/>
          </ac:spMkLst>
        </pc:spChg>
        <pc:picChg chg="mod">
          <ac:chgData name="Cathcart, Alex" userId="S::acathcart@deloitte.com::05962915-de22-4fd1-8c05-3b26da3d783f" providerId="AD" clId="Web-{FD9A6848-BB96-4F7A-AF99-AF1955D25E67}" dt="2022-10-26T15:43:55.142" v="19" actId="1076"/>
          <ac:picMkLst>
            <pc:docMk/>
            <pc:sldMk cId="2447309153" sldId="1796"/>
            <ac:picMk id="8" creationId="{A185D672-1C8A-058D-7D91-56DD28D26ABB}"/>
          </ac:picMkLst>
        </pc:picChg>
      </pc:sldChg>
    </pc:docChg>
  </pc:docChgLst>
  <pc:docChgLst>
    <pc:chgData name="Wagner, Mason" userId="S::maswagner@deloitte.com::f1c33596-bee1-4a78-989b-e0dcd1a9a344" providerId="AD" clId="Web-{9AACE50E-DBC6-4A90-A73D-8F01D9AF1B2F}"/>
    <pc:docChg chg="addSld modSld">
      <pc:chgData name="Wagner, Mason" userId="S::maswagner@deloitte.com::f1c33596-bee1-4a78-989b-e0dcd1a9a344" providerId="AD" clId="Web-{9AACE50E-DBC6-4A90-A73D-8F01D9AF1B2F}" dt="2022-10-26T15:41:44.140" v="114" actId="20577"/>
      <pc:docMkLst>
        <pc:docMk/>
      </pc:docMkLst>
      <pc:sldChg chg="modSp">
        <pc:chgData name="Wagner, Mason" userId="S::maswagner@deloitte.com::f1c33596-bee1-4a78-989b-e0dcd1a9a344" providerId="AD" clId="Web-{9AACE50E-DBC6-4A90-A73D-8F01D9AF1B2F}" dt="2022-10-26T15:41:44.140" v="114" actId="20577"/>
        <pc:sldMkLst>
          <pc:docMk/>
          <pc:sldMk cId="2954052399" sldId="1791"/>
        </pc:sldMkLst>
        <pc:spChg chg="mod">
          <ac:chgData name="Wagner, Mason" userId="S::maswagner@deloitte.com::f1c33596-bee1-4a78-989b-e0dcd1a9a344" providerId="AD" clId="Web-{9AACE50E-DBC6-4A90-A73D-8F01D9AF1B2F}" dt="2022-10-26T15:41:44.140" v="114" actId="20577"/>
          <ac:spMkLst>
            <pc:docMk/>
            <pc:sldMk cId="2954052399" sldId="1791"/>
            <ac:spMk id="3" creationId="{00000000-0000-0000-0000-000000000000}"/>
          </ac:spMkLst>
        </pc:spChg>
      </pc:sldChg>
      <pc:sldChg chg="addSp delSp modSp new">
        <pc:chgData name="Wagner, Mason" userId="S::maswagner@deloitte.com::f1c33596-bee1-4a78-989b-e0dcd1a9a344" providerId="AD" clId="Web-{9AACE50E-DBC6-4A90-A73D-8F01D9AF1B2F}" dt="2022-10-26T15:35:44.643" v="62"/>
        <pc:sldMkLst>
          <pc:docMk/>
          <pc:sldMk cId="681282729" sldId="1795"/>
        </pc:sldMkLst>
        <pc:spChg chg="del mod">
          <ac:chgData name="Wagner, Mason" userId="S::maswagner@deloitte.com::f1c33596-bee1-4a78-989b-e0dcd1a9a344" providerId="AD" clId="Web-{9AACE50E-DBC6-4A90-A73D-8F01D9AF1B2F}" dt="2022-10-26T15:31:40.401" v="23"/>
          <ac:spMkLst>
            <pc:docMk/>
            <pc:sldMk cId="681282729" sldId="1795"/>
            <ac:spMk id="2" creationId="{9C1637D0-D118-B76A-D211-C6A37B527FF2}"/>
          </ac:spMkLst>
        </pc:spChg>
        <pc:spChg chg="del">
          <ac:chgData name="Wagner, Mason" userId="S::maswagner@deloitte.com::f1c33596-bee1-4a78-989b-e0dcd1a9a344" providerId="AD" clId="Web-{9AACE50E-DBC6-4A90-A73D-8F01D9AF1B2F}" dt="2022-10-26T15:31:43.042" v="24"/>
          <ac:spMkLst>
            <pc:docMk/>
            <pc:sldMk cId="681282729" sldId="1795"/>
            <ac:spMk id="3" creationId="{059F40C5-D642-4447-8CC9-BC70051B4442}"/>
          </ac:spMkLst>
        </pc:spChg>
        <pc:spChg chg="mod">
          <ac:chgData name="Wagner, Mason" userId="S::maswagner@deloitte.com::f1c33596-bee1-4a78-989b-e0dcd1a9a344" providerId="AD" clId="Web-{9AACE50E-DBC6-4A90-A73D-8F01D9AF1B2F}" dt="2022-10-26T15:31:27.807" v="22" actId="20577"/>
          <ac:spMkLst>
            <pc:docMk/>
            <pc:sldMk cId="681282729" sldId="1795"/>
            <ac:spMk id="4" creationId="{40B9048D-FF26-B68A-452B-580E9E1CF08A}"/>
          </ac:spMkLst>
        </pc:spChg>
        <pc:spChg chg="add mod">
          <ac:chgData name="Wagner, Mason" userId="S::maswagner@deloitte.com::f1c33596-bee1-4a78-989b-e0dcd1a9a344" providerId="AD" clId="Web-{9AACE50E-DBC6-4A90-A73D-8F01D9AF1B2F}" dt="2022-10-26T15:31:55.542" v="27" actId="14100"/>
          <ac:spMkLst>
            <pc:docMk/>
            <pc:sldMk cId="681282729" sldId="1795"/>
            <ac:spMk id="5" creationId="{1B5E6BCE-4CF3-AD3A-A3BE-86A1AB179E59}"/>
          </ac:spMkLst>
        </pc:spChg>
        <pc:spChg chg="add del mod">
          <ac:chgData name="Wagner, Mason" userId="S::maswagner@deloitte.com::f1c33596-bee1-4a78-989b-e0dcd1a9a344" providerId="AD" clId="Web-{9AACE50E-DBC6-4A90-A73D-8F01D9AF1B2F}" dt="2022-10-26T15:32:04.449" v="31"/>
          <ac:spMkLst>
            <pc:docMk/>
            <pc:sldMk cId="681282729" sldId="1795"/>
            <ac:spMk id="6" creationId="{01FC9B2E-AAA0-5AFE-5B8F-C5CEEE10DE2B}"/>
          </ac:spMkLst>
        </pc:spChg>
        <pc:spChg chg="add mod">
          <ac:chgData name="Wagner, Mason" userId="S::maswagner@deloitte.com::f1c33596-bee1-4a78-989b-e0dcd1a9a344" providerId="AD" clId="Web-{9AACE50E-DBC6-4A90-A73D-8F01D9AF1B2F}" dt="2022-10-26T15:32:22.574" v="40" actId="1076"/>
          <ac:spMkLst>
            <pc:docMk/>
            <pc:sldMk cId="681282729" sldId="1795"/>
            <ac:spMk id="7" creationId="{3C4AC014-D135-C6C6-0797-43DFD3FDF1B9}"/>
          </ac:spMkLst>
        </pc:spChg>
        <pc:spChg chg="add mod">
          <ac:chgData name="Wagner, Mason" userId="S::maswagner@deloitte.com::f1c33596-bee1-4a78-989b-e0dcd1a9a344" providerId="AD" clId="Web-{9AACE50E-DBC6-4A90-A73D-8F01D9AF1B2F}" dt="2022-10-26T15:32:28.262" v="41" actId="1076"/>
          <ac:spMkLst>
            <pc:docMk/>
            <pc:sldMk cId="681282729" sldId="1795"/>
            <ac:spMk id="8" creationId="{7A5245B0-9F55-C477-AC71-B50FFAE228F4}"/>
          </ac:spMkLst>
        </pc:spChg>
        <pc:spChg chg="add mod">
          <ac:chgData name="Wagner, Mason" userId="S::maswagner@deloitte.com::f1c33596-bee1-4a78-989b-e0dcd1a9a344" providerId="AD" clId="Web-{9AACE50E-DBC6-4A90-A73D-8F01D9AF1B2F}" dt="2022-10-26T15:32:31.950" v="42" actId="1076"/>
          <ac:spMkLst>
            <pc:docMk/>
            <pc:sldMk cId="681282729" sldId="1795"/>
            <ac:spMk id="9" creationId="{EAD93B20-24FD-BD71-62F8-B1A74CD97023}"/>
          </ac:spMkLst>
        </pc:spChg>
        <pc:spChg chg="add del mod">
          <ac:chgData name="Wagner, Mason" userId="S::maswagner@deloitte.com::f1c33596-bee1-4a78-989b-e0dcd1a9a344" providerId="AD" clId="Web-{9AACE50E-DBC6-4A90-A73D-8F01D9AF1B2F}" dt="2022-10-26T15:32:33.434" v="43"/>
          <ac:spMkLst>
            <pc:docMk/>
            <pc:sldMk cId="681282729" sldId="1795"/>
            <ac:spMk id="10" creationId="{ED5583A9-4ADA-2814-AB65-141A7FD5D06E}"/>
          </ac:spMkLst>
        </pc:spChg>
        <pc:grpChg chg="add mod">
          <ac:chgData name="Wagner, Mason" userId="S::maswagner@deloitte.com::f1c33596-bee1-4a78-989b-e0dcd1a9a344" providerId="AD" clId="Web-{9AACE50E-DBC6-4A90-A73D-8F01D9AF1B2F}" dt="2022-10-26T15:33:03.466" v="47" actId="1076"/>
          <ac:grpSpMkLst>
            <pc:docMk/>
            <pc:sldMk cId="681282729" sldId="1795"/>
            <ac:grpSpMk id="11" creationId="{0EBC535D-7265-7AB2-22FD-24894D6A4824}"/>
          </ac:grpSpMkLst>
        </pc:grpChg>
        <pc:picChg chg="add mod">
          <ac:chgData name="Wagner, Mason" userId="S::maswagner@deloitte.com::f1c33596-bee1-4a78-989b-e0dcd1a9a344" providerId="AD" clId="Web-{9AACE50E-DBC6-4A90-A73D-8F01D9AF1B2F}" dt="2022-10-26T15:33:37.374" v="51" actId="1076"/>
          <ac:picMkLst>
            <pc:docMk/>
            <pc:sldMk cId="681282729" sldId="1795"/>
            <ac:picMk id="12" creationId="{2BB09738-6B71-5189-26CB-0D190C515B55}"/>
          </ac:picMkLst>
        </pc:picChg>
        <pc:picChg chg="mod modCrop">
          <ac:chgData name="Wagner, Mason" userId="S::maswagner@deloitte.com::f1c33596-bee1-4a78-989b-e0dcd1a9a344" providerId="AD" clId="Web-{9AACE50E-DBC6-4A90-A73D-8F01D9AF1B2F}" dt="2022-10-26T15:35:15.486" v="55"/>
          <ac:picMkLst>
            <pc:docMk/>
            <pc:sldMk cId="681282729" sldId="1795"/>
            <ac:picMk id="13" creationId="{6036385F-3658-3134-A38F-6228D50F38AA}"/>
          </ac:picMkLst>
        </pc:picChg>
        <pc:picChg chg="mod modCrop">
          <ac:chgData name="Wagner, Mason" userId="S::maswagner@deloitte.com::f1c33596-bee1-4a78-989b-e0dcd1a9a344" providerId="AD" clId="Web-{9AACE50E-DBC6-4A90-A73D-8F01D9AF1B2F}" dt="2022-10-26T15:35:44.643" v="62"/>
          <ac:picMkLst>
            <pc:docMk/>
            <pc:sldMk cId="681282729" sldId="1795"/>
            <ac:picMk id="15" creationId="{692670B1-86E5-4C1B-80A0-BB7D22B45C82}"/>
          </ac:picMkLst>
        </pc:picChg>
      </pc:sldChg>
      <pc:sldChg chg="addSp delSp modSp new">
        <pc:chgData name="Wagner, Mason" userId="S::maswagner@deloitte.com::f1c33596-bee1-4a78-989b-e0dcd1a9a344" providerId="AD" clId="Web-{9AACE50E-DBC6-4A90-A73D-8F01D9AF1B2F}" dt="2022-10-26T15:41:37.905" v="112"/>
        <pc:sldMkLst>
          <pc:docMk/>
          <pc:sldMk cId="2447309153" sldId="1796"/>
        </pc:sldMkLst>
        <pc:spChg chg="del">
          <ac:chgData name="Wagner, Mason" userId="S::maswagner@deloitte.com::f1c33596-bee1-4a78-989b-e0dcd1a9a344" providerId="AD" clId="Web-{9AACE50E-DBC6-4A90-A73D-8F01D9AF1B2F}" dt="2022-10-26T15:40:37.872" v="99"/>
          <ac:spMkLst>
            <pc:docMk/>
            <pc:sldMk cId="2447309153" sldId="1796"/>
            <ac:spMk id="2" creationId="{9C8E78C7-2799-3D51-02DD-73D7E5344663}"/>
          </ac:spMkLst>
        </pc:spChg>
        <pc:spChg chg="del">
          <ac:chgData name="Wagner, Mason" userId="S::maswagner@deloitte.com::f1c33596-bee1-4a78-989b-e0dcd1a9a344" providerId="AD" clId="Web-{9AACE50E-DBC6-4A90-A73D-8F01D9AF1B2F}" dt="2022-10-26T15:38:26.430" v="81"/>
          <ac:spMkLst>
            <pc:docMk/>
            <pc:sldMk cId="2447309153" sldId="1796"/>
            <ac:spMk id="6" creationId="{BE192A26-F34C-129F-AC10-0BC0575CB5BE}"/>
          </ac:spMkLst>
        </pc:spChg>
        <pc:spChg chg="mod">
          <ac:chgData name="Wagner, Mason" userId="S::maswagner@deloitte.com::f1c33596-bee1-4a78-989b-e0dcd1a9a344" providerId="AD" clId="Web-{9AACE50E-DBC6-4A90-A73D-8F01D9AF1B2F}" dt="2022-10-26T15:41:37.905" v="112"/>
          <ac:spMkLst>
            <pc:docMk/>
            <pc:sldMk cId="2447309153" sldId="1796"/>
            <ac:spMk id="7" creationId="{FF6813EE-0735-E519-F75E-5CB8B320F077}"/>
          </ac:spMkLst>
        </pc:spChg>
        <pc:picChg chg="add mod ord">
          <ac:chgData name="Wagner, Mason" userId="S::maswagner@deloitte.com::f1c33596-bee1-4a78-989b-e0dcd1a9a344" providerId="AD" clId="Web-{9AACE50E-DBC6-4A90-A73D-8F01D9AF1B2F}" dt="2022-10-26T15:41:27.467" v="111" actId="1076"/>
          <ac:picMkLst>
            <pc:docMk/>
            <pc:sldMk cId="2447309153" sldId="1796"/>
            <ac:picMk id="8" creationId="{A185D672-1C8A-058D-7D91-56DD28D26ABB}"/>
          </ac:picMkLst>
        </pc:picChg>
      </pc:sldChg>
    </pc:docChg>
  </pc:docChgLst>
  <pc:docChgLst>
    <pc:chgData name="Wagner, Mason" userId="S::maswagner@deloitte.com::f1c33596-bee1-4a78-989b-e0dcd1a9a344" providerId="AD" clId="Web-{B2F7851D-E505-4F50-9042-2A49462FF63F}"/>
    <pc:docChg chg="addSld delSld modSld">
      <pc:chgData name="Wagner, Mason" userId="S::maswagner@deloitte.com::f1c33596-bee1-4a78-989b-e0dcd1a9a344" providerId="AD" clId="Web-{B2F7851D-E505-4F50-9042-2A49462FF63F}" dt="2022-10-27T14:08:21.469" v="21"/>
      <pc:docMkLst>
        <pc:docMk/>
      </pc:docMkLst>
      <pc:sldChg chg="addSp modSp">
        <pc:chgData name="Wagner, Mason" userId="S::maswagner@deloitte.com::f1c33596-bee1-4a78-989b-e0dcd1a9a344" providerId="AD" clId="Web-{B2F7851D-E505-4F50-9042-2A49462FF63F}" dt="2022-10-27T14:08:18.422" v="20"/>
        <pc:sldMkLst>
          <pc:docMk/>
          <pc:sldMk cId="816324306" sldId="1790"/>
        </pc:sldMkLst>
        <pc:spChg chg="add mod">
          <ac:chgData name="Wagner, Mason" userId="S::maswagner@deloitte.com::f1c33596-bee1-4a78-989b-e0dcd1a9a344" providerId="AD" clId="Web-{B2F7851D-E505-4F50-9042-2A49462FF63F}" dt="2022-10-27T14:08:18.422" v="20"/>
          <ac:spMkLst>
            <pc:docMk/>
            <pc:sldMk cId="816324306" sldId="1790"/>
            <ac:spMk id="3" creationId="{E6063E21-B589-43C7-BED5-F8003AA79F6B}"/>
          </ac:spMkLst>
        </pc:spChg>
      </pc:sldChg>
      <pc:sldChg chg="modSp new del">
        <pc:chgData name="Wagner, Mason" userId="S::maswagner@deloitte.com::f1c33596-bee1-4a78-989b-e0dcd1a9a344" providerId="AD" clId="Web-{B2F7851D-E505-4F50-9042-2A49462FF63F}" dt="2022-10-27T14:08:21.469" v="21"/>
        <pc:sldMkLst>
          <pc:docMk/>
          <pc:sldMk cId="3967816937" sldId="1803"/>
        </pc:sldMkLst>
        <pc:spChg chg="mod">
          <ac:chgData name="Wagner, Mason" userId="S::maswagner@deloitte.com::f1c33596-bee1-4a78-989b-e0dcd1a9a344" providerId="AD" clId="Web-{B2F7851D-E505-4F50-9042-2A49462FF63F}" dt="2022-10-27T14:08:11.156" v="19" actId="20577"/>
          <ac:spMkLst>
            <pc:docMk/>
            <pc:sldMk cId="3967816937" sldId="1803"/>
            <ac:spMk id="4" creationId="{0E8402FF-29D9-0AB6-3835-F32222265D0B}"/>
          </ac:spMkLst>
        </pc:spChg>
      </pc:sldChg>
    </pc:docChg>
  </pc:docChgLst>
  <pc:docChgLst>
    <pc:chgData name="Cathcart, Alex" userId="S::acathcart@deloitte.com::05962915-de22-4fd1-8c05-3b26da3d783f" providerId="AD" clId="Web-{59359B5E-FAF5-4148-AD2E-226CF9E70D96}"/>
    <pc:docChg chg="addSld delSld modSld">
      <pc:chgData name="Cathcart, Alex" userId="S::acathcart@deloitte.com::05962915-de22-4fd1-8c05-3b26da3d783f" providerId="AD" clId="Web-{59359B5E-FAF5-4148-AD2E-226CF9E70D96}" dt="2022-10-26T20:57:49.228" v="216" actId="20577"/>
      <pc:docMkLst>
        <pc:docMk/>
      </pc:docMkLst>
      <pc:sldChg chg="modSp">
        <pc:chgData name="Cathcart, Alex" userId="S::acathcart@deloitte.com::05962915-de22-4fd1-8c05-3b26da3d783f" providerId="AD" clId="Web-{59359B5E-FAF5-4148-AD2E-226CF9E70D96}" dt="2022-10-26T20:57:03.819" v="214" actId="20577"/>
        <pc:sldMkLst>
          <pc:docMk/>
          <pc:sldMk cId="1225603327" sldId="457"/>
        </pc:sldMkLst>
        <pc:spChg chg="mod">
          <ac:chgData name="Cathcart, Alex" userId="S::acathcart@deloitte.com::05962915-de22-4fd1-8c05-3b26da3d783f" providerId="AD" clId="Web-{59359B5E-FAF5-4148-AD2E-226CF9E70D96}" dt="2022-10-26T20:18:27.877" v="144" actId="1076"/>
          <ac:spMkLst>
            <pc:docMk/>
            <pc:sldMk cId="1225603327" sldId="457"/>
            <ac:spMk id="2" creationId="{A7882C1E-3F46-B21B-670C-CA43D5815F8F}"/>
          </ac:spMkLst>
        </pc:spChg>
        <pc:spChg chg="mod">
          <ac:chgData name="Cathcart, Alex" userId="S::acathcart@deloitte.com::05962915-de22-4fd1-8c05-3b26da3d783f" providerId="AD" clId="Web-{59359B5E-FAF5-4148-AD2E-226CF9E70D96}" dt="2022-10-26T20:18:12.049" v="142" actId="1076"/>
          <ac:spMkLst>
            <pc:docMk/>
            <pc:sldMk cId="1225603327" sldId="457"/>
            <ac:spMk id="5" creationId="{03B7C34D-E025-01B9-84EC-4FAA7FBD4587}"/>
          </ac:spMkLst>
        </pc:spChg>
        <pc:spChg chg="mod">
          <ac:chgData name="Cathcart, Alex" userId="S::acathcart@deloitte.com::05962915-de22-4fd1-8c05-3b26da3d783f" providerId="AD" clId="Web-{59359B5E-FAF5-4148-AD2E-226CF9E70D96}" dt="2022-10-26T20:57:03.819" v="214" actId="20577"/>
          <ac:spMkLst>
            <pc:docMk/>
            <pc:sldMk cId="1225603327" sldId="457"/>
            <ac:spMk id="7" creationId="{4EBD752C-3B6D-23A1-DBB7-C362B79B6CB6}"/>
          </ac:spMkLst>
        </pc:spChg>
        <pc:spChg chg="mod">
          <ac:chgData name="Cathcart, Alex" userId="S::acathcart@deloitte.com::05962915-de22-4fd1-8c05-3b26da3d783f" providerId="AD" clId="Web-{59359B5E-FAF5-4148-AD2E-226CF9E70D96}" dt="2022-10-26T20:18:12.064" v="143" actId="1076"/>
          <ac:spMkLst>
            <pc:docMk/>
            <pc:sldMk cId="1225603327" sldId="457"/>
            <ac:spMk id="32" creationId="{D79FFC5F-5EB3-0BA1-D9FB-C2EC6D81CC8D}"/>
          </ac:spMkLst>
        </pc:spChg>
      </pc:sldChg>
      <pc:sldChg chg="modSp">
        <pc:chgData name="Cathcart, Alex" userId="S::acathcart@deloitte.com::05962915-de22-4fd1-8c05-3b26da3d783f" providerId="AD" clId="Web-{59359B5E-FAF5-4148-AD2E-226CF9E70D96}" dt="2022-10-26T20:16:22.452" v="138" actId="20577"/>
        <pc:sldMkLst>
          <pc:docMk/>
          <pc:sldMk cId="3801425194" sldId="719"/>
        </pc:sldMkLst>
        <pc:spChg chg="mod">
          <ac:chgData name="Cathcart, Alex" userId="S::acathcart@deloitte.com::05962915-de22-4fd1-8c05-3b26da3d783f" providerId="AD" clId="Web-{59359B5E-FAF5-4148-AD2E-226CF9E70D96}" dt="2022-10-26T20:15:47.420" v="119" actId="20577"/>
          <ac:spMkLst>
            <pc:docMk/>
            <pc:sldMk cId="3801425194" sldId="719"/>
            <ac:spMk id="3" creationId="{BF39FE45-2A4F-0224-4E18-4B83161A20C8}"/>
          </ac:spMkLst>
        </pc:spChg>
        <pc:spChg chg="mod">
          <ac:chgData name="Cathcart, Alex" userId="S::acathcart@deloitte.com::05962915-de22-4fd1-8c05-3b26da3d783f" providerId="AD" clId="Web-{59359B5E-FAF5-4148-AD2E-226CF9E70D96}" dt="2022-10-26T20:16:22.452" v="138" actId="20577"/>
          <ac:spMkLst>
            <pc:docMk/>
            <pc:sldMk cId="3801425194" sldId="719"/>
            <ac:spMk id="4" creationId="{30CD6658-74C5-62ED-5FF1-DF8AE9831676}"/>
          </ac:spMkLst>
        </pc:spChg>
        <pc:spChg chg="mod">
          <ac:chgData name="Cathcart, Alex" userId="S::acathcart@deloitte.com::05962915-de22-4fd1-8c05-3b26da3d783f" providerId="AD" clId="Web-{59359B5E-FAF5-4148-AD2E-226CF9E70D96}" dt="2022-10-26T20:07:34.626" v="114" actId="20577"/>
          <ac:spMkLst>
            <pc:docMk/>
            <pc:sldMk cId="3801425194" sldId="719"/>
            <ac:spMk id="371719" creationId="{00000000-0000-0000-0000-000000000000}"/>
          </ac:spMkLst>
        </pc:spChg>
      </pc:sldChg>
      <pc:sldChg chg="modSp">
        <pc:chgData name="Cathcart, Alex" userId="S::acathcart@deloitte.com::05962915-de22-4fd1-8c05-3b26da3d783f" providerId="AD" clId="Web-{59359B5E-FAF5-4148-AD2E-226CF9E70D96}" dt="2022-10-26T20:56:21.754" v="203" actId="20577"/>
        <pc:sldMkLst>
          <pc:docMk/>
          <pc:sldMk cId="3102866459" sldId="779"/>
        </pc:sldMkLst>
        <pc:spChg chg="mod">
          <ac:chgData name="Cathcart, Alex" userId="S::acathcart@deloitte.com::05962915-de22-4fd1-8c05-3b26da3d783f" providerId="AD" clId="Web-{59359B5E-FAF5-4148-AD2E-226CF9E70D96}" dt="2022-10-26T20:56:21.754" v="203" actId="20577"/>
          <ac:spMkLst>
            <pc:docMk/>
            <pc:sldMk cId="3102866459" sldId="779"/>
            <ac:spMk id="7" creationId="{13BFA71B-0196-D0A2-53FD-2D348E757707}"/>
          </ac:spMkLst>
        </pc:spChg>
        <pc:picChg chg="mod">
          <ac:chgData name="Cathcart, Alex" userId="S::acathcart@deloitte.com::05962915-de22-4fd1-8c05-3b26da3d783f" providerId="AD" clId="Web-{59359B5E-FAF5-4148-AD2E-226CF9E70D96}" dt="2022-10-26T20:47:18.082" v="149" actId="1076"/>
          <ac:picMkLst>
            <pc:docMk/>
            <pc:sldMk cId="3102866459" sldId="779"/>
            <ac:picMk id="15" creationId="{A60A4AD2-51DC-691A-4F94-16410EB07C97}"/>
          </ac:picMkLst>
        </pc:picChg>
      </pc:sldChg>
      <pc:sldChg chg="modSp">
        <pc:chgData name="Cathcart, Alex" userId="S::acathcart@deloitte.com::05962915-de22-4fd1-8c05-3b26da3d783f" providerId="AD" clId="Web-{59359B5E-FAF5-4148-AD2E-226CF9E70D96}" dt="2022-10-26T20:45:35.310" v="145" actId="20577"/>
        <pc:sldMkLst>
          <pc:docMk/>
          <pc:sldMk cId="681282729" sldId="1795"/>
        </pc:sldMkLst>
        <pc:spChg chg="mod">
          <ac:chgData name="Cathcart, Alex" userId="S::acathcart@deloitte.com::05962915-de22-4fd1-8c05-3b26da3d783f" providerId="AD" clId="Web-{59359B5E-FAF5-4148-AD2E-226CF9E70D96}" dt="2022-10-26T19:42:11.245" v="56" actId="1076"/>
          <ac:spMkLst>
            <pc:docMk/>
            <pc:sldMk cId="681282729" sldId="1795"/>
            <ac:spMk id="4" creationId="{40B9048D-FF26-B68A-452B-580E9E1CF08A}"/>
          </ac:spMkLst>
        </pc:spChg>
        <pc:spChg chg="mod">
          <ac:chgData name="Cathcart, Alex" userId="S::acathcart@deloitte.com::05962915-de22-4fd1-8c05-3b26da3d783f" providerId="AD" clId="Web-{59359B5E-FAF5-4148-AD2E-226CF9E70D96}" dt="2022-10-26T19:42:11.432" v="58" actId="1076"/>
          <ac:spMkLst>
            <pc:docMk/>
            <pc:sldMk cId="681282729" sldId="1795"/>
            <ac:spMk id="6" creationId="{89F2A90C-FB2E-9369-F302-4F09D5FAA2CC}"/>
          </ac:spMkLst>
        </pc:spChg>
        <pc:spChg chg="mod">
          <ac:chgData name="Cathcart, Alex" userId="S::acathcart@deloitte.com::05962915-de22-4fd1-8c05-3b26da3d783f" providerId="AD" clId="Web-{59359B5E-FAF5-4148-AD2E-226CF9E70D96}" dt="2022-10-26T19:42:11.432" v="59" actId="1076"/>
          <ac:spMkLst>
            <pc:docMk/>
            <pc:sldMk cId="681282729" sldId="1795"/>
            <ac:spMk id="10" creationId="{C2290A8E-783C-A952-8223-175ACBB04A5A}"/>
          </ac:spMkLst>
        </pc:spChg>
        <pc:spChg chg="mod">
          <ac:chgData name="Cathcart, Alex" userId="S::acathcart@deloitte.com::05962915-de22-4fd1-8c05-3b26da3d783f" providerId="AD" clId="Web-{59359B5E-FAF5-4148-AD2E-226CF9E70D96}" dt="2022-10-26T19:42:11.432" v="60" actId="1076"/>
          <ac:spMkLst>
            <pc:docMk/>
            <pc:sldMk cId="681282729" sldId="1795"/>
            <ac:spMk id="14" creationId="{B427C810-7C5A-E91E-ED19-5E86BFF18D96}"/>
          </ac:spMkLst>
        </pc:spChg>
        <pc:spChg chg="mod">
          <ac:chgData name="Cathcart, Alex" userId="S::acathcart@deloitte.com::05962915-de22-4fd1-8c05-3b26da3d783f" providerId="AD" clId="Web-{59359B5E-FAF5-4148-AD2E-226CF9E70D96}" dt="2022-10-26T20:45:35.310" v="145" actId="20577"/>
          <ac:spMkLst>
            <pc:docMk/>
            <pc:sldMk cId="681282729" sldId="1795"/>
            <ac:spMk id="16" creationId="{FB717360-BD49-B21A-A73B-76D955CED601}"/>
          </ac:spMkLst>
        </pc:spChg>
        <pc:grpChg chg="mod">
          <ac:chgData name="Cathcart, Alex" userId="S::acathcart@deloitte.com::05962915-de22-4fd1-8c05-3b26da3d783f" providerId="AD" clId="Web-{59359B5E-FAF5-4148-AD2E-226CF9E70D96}" dt="2022-10-26T19:42:11.416" v="57" actId="1076"/>
          <ac:grpSpMkLst>
            <pc:docMk/>
            <pc:sldMk cId="681282729" sldId="1795"/>
            <ac:grpSpMk id="3" creationId="{0ADC112C-A4A2-D6FA-40CD-337B996D725A}"/>
          </ac:grpSpMkLst>
        </pc:grpChg>
      </pc:sldChg>
      <pc:sldChg chg="modSp">
        <pc:chgData name="Cathcart, Alex" userId="S::acathcart@deloitte.com::05962915-de22-4fd1-8c05-3b26da3d783f" providerId="AD" clId="Web-{59359B5E-FAF5-4148-AD2E-226CF9E70D96}" dt="2022-10-26T20:54:02.308" v="162" actId="20577"/>
        <pc:sldMkLst>
          <pc:docMk/>
          <pc:sldMk cId="2447309153" sldId="1796"/>
        </pc:sldMkLst>
        <pc:spChg chg="mod">
          <ac:chgData name="Cathcart, Alex" userId="S::acathcart@deloitte.com::05962915-de22-4fd1-8c05-3b26da3d783f" providerId="AD" clId="Web-{59359B5E-FAF5-4148-AD2E-226CF9E70D96}" dt="2022-10-26T20:54:02.308" v="162" actId="20577"/>
          <ac:spMkLst>
            <pc:docMk/>
            <pc:sldMk cId="2447309153" sldId="1796"/>
            <ac:spMk id="4" creationId="{13D0A514-CF7A-14E6-B760-48163CF3D589}"/>
          </ac:spMkLst>
        </pc:spChg>
      </pc:sldChg>
      <pc:sldChg chg="addSp delSp modSp">
        <pc:chgData name="Cathcart, Alex" userId="S::acathcart@deloitte.com::05962915-de22-4fd1-8c05-3b26da3d783f" providerId="AD" clId="Web-{59359B5E-FAF5-4148-AD2E-226CF9E70D96}" dt="2022-10-26T20:57:49.228" v="216" actId="20577"/>
        <pc:sldMkLst>
          <pc:docMk/>
          <pc:sldMk cId="197330321" sldId="1797"/>
        </pc:sldMkLst>
        <pc:spChg chg="mod">
          <ac:chgData name="Cathcart, Alex" userId="S::acathcart@deloitte.com::05962915-de22-4fd1-8c05-3b26da3d783f" providerId="AD" clId="Web-{59359B5E-FAF5-4148-AD2E-226CF9E70D96}" dt="2022-10-26T20:56:16.222" v="189" actId="20577"/>
          <ac:spMkLst>
            <pc:docMk/>
            <pc:sldMk cId="197330321" sldId="1797"/>
            <ac:spMk id="4" creationId="{B7D0FEE9-B395-B628-6E12-91BCF66D9A6C}"/>
          </ac:spMkLst>
        </pc:spChg>
        <pc:spChg chg="mod">
          <ac:chgData name="Cathcart, Alex" userId="S::acathcart@deloitte.com::05962915-de22-4fd1-8c05-3b26da3d783f" providerId="AD" clId="Web-{59359B5E-FAF5-4148-AD2E-226CF9E70D96}" dt="2022-10-26T20:57:49.228" v="216" actId="20577"/>
          <ac:spMkLst>
            <pc:docMk/>
            <pc:sldMk cId="197330321" sldId="1797"/>
            <ac:spMk id="10" creationId="{184BB420-3985-A09A-7EA7-5BDC2F3C3218}"/>
          </ac:spMkLst>
        </pc:spChg>
        <pc:picChg chg="add mod">
          <ac:chgData name="Cathcart, Alex" userId="S::acathcart@deloitte.com::05962915-de22-4fd1-8c05-3b26da3d783f" providerId="AD" clId="Web-{59359B5E-FAF5-4148-AD2E-226CF9E70D96}" dt="2022-10-26T20:01:17.351" v="85" actId="14100"/>
          <ac:picMkLst>
            <pc:docMk/>
            <pc:sldMk cId="197330321" sldId="1797"/>
            <ac:picMk id="3" creationId="{E7977D2A-1E76-33D0-4FE9-FEDB4109F09E}"/>
          </ac:picMkLst>
        </pc:picChg>
        <pc:picChg chg="del">
          <ac:chgData name="Cathcart, Alex" userId="S::acathcart@deloitte.com::05962915-de22-4fd1-8c05-3b26da3d783f" providerId="AD" clId="Web-{59359B5E-FAF5-4148-AD2E-226CF9E70D96}" dt="2022-10-26T19:53:30.105" v="69"/>
          <ac:picMkLst>
            <pc:docMk/>
            <pc:sldMk cId="197330321" sldId="1797"/>
            <ac:picMk id="5" creationId="{FAA31096-A6ED-C847-D2F5-F6B53ADB72F6}"/>
          </ac:picMkLst>
        </pc:picChg>
        <pc:picChg chg="mod">
          <ac:chgData name="Cathcart, Alex" userId="S::acathcart@deloitte.com::05962915-de22-4fd1-8c05-3b26da3d783f" providerId="AD" clId="Web-{59359B5E-FAF5-4148-AD2E-226CF9E70D96}" dt="2022-10-26T20:48:50.681" v="154" actId="1076"/>
          <ac:picMkLst>
            <pc:docMk/>
            <pc:sldMk cId="197330321" sldId="1797"/>
            <ac:picMk id="11" creationId="{0A303495-2525-B2E2-B93E-A528666FE0E5}"/>
          </ac:picMkLst>
        </pc:picChg>
      </pc:sldChg>
      <pc:sldChg chg="modSp">
        <pc:chgData name="Cathcart, Alex" userId="S::acathcart@deloitte.com::05962915-de22-4fd1-8c05-3b26da3d783f" providerId="AD" clId="Web-{59359B5E-FAF5-4148-AD2E-226CF9E70D96}" dt="2022-10-26T20:48:39.540" v="153" actId="1076"/>
        <pc:sldMkLst>
          <pc:docMk/>
          <pc:sldMk cId="1293087361" sldId="1798"/>
        </pc:sldMkLst>
        <pc:spChg chg="mod">
          <ac:chgData name="Cathcart, Alex" userId="S::acathcart@deloitte.com::05962915-de22-4fd1-8c05-3b26da3d783f" providerId="AD" clId="Web-{59359B5E-FAF5-4148-AD2E-226CF9E70D96}" dt="2022-10-26T19:39:29.240" v="6" actId="20577"/>
          <ac:spMkLst>
            <pc:docMk/>
            <pc:sldMk cId="1293087361" sldId="1798"/>
            <ac:spMk id="18" creationId="{2E9A66C5-9E09-8BF3-8E72-98A5A0F96290}"/>
          </ac:spMkLst>
        </pc:spChg>
        <pc:picChg chg="mod">
          <ac:chgData name="Cathcart, Alex" userId="S::acathcart@deloitte.com::05962915-de22-4fd1-8c05-3b26da3d783f" providerId="AD" clId="Web-{59359B5E-FAF5-4148-AD2E-226CF9E70D96}" dt="2022-10-26T20:02:15.947" v="88" actId="14100"/>
          <ac:picMkLst>
            <pc:docMk/>
            <pc:sldMk cId="1293087361" sldId="1798"/>
            <ac:picMk id="5" creationId="{F7A1C0E4-4C16-B056-584E-92675FD650CA}"/>
          </ac:picMkLst>
        </pc:picChg>
        <pc:picChg chg="mod">
          <ac:chgData name="Cathcart, Alex" userId="S::acathcart@deloitte.com::05962915-de22-4fd1-8c05-3b26da3d783f" providerId="AD" clId="Web-{59359B5E-FAF5-4148-AD2E-226CF9E70D96}" dt="2022-10-26T20:48:39.540" v="153" actId="1076"/>
          <ac:picMkLst>
            <pc:docMk/>
            <pc:sldMk cId="1293087361" sldId="1798"/>
            <ac:picMk id="12" creationId="{C5857B70-CCA1-7C79-E979-F14A0A9BA59A}"/>
          </ac:picMkLst>
        </pc:picChg>
      </pc:sldChg>
      <pc:sldChg chg="modSp">
        <pc:chgData name="Cathcart, Alex" userId="S::acathcart@deloitte.com::05962915-de22-4fd1-8c05-3b26da3d783f" providerId="AD" clId="Web-{59359B5E-FAF5-4148-AD2E-226CF9E70D96}" dt="2022-10-26T20:49:22.464" v="157" actId="1076"/>
        <pc:sldMkLst>
          <pc:docMk/>
          <pc:sldMk cId="3372800696" sldId="1801"/>
        </pc:sldMkLst>
        <pc:picChg chg="mod">
          <ac:chgData name="Cathcart, Alex" userId="S::acathcart@deloitte.com::05962915-de22-4fd1-8c05-3b26da3d783f" providerId="AD" clId="Web-{59359B5E-FAF5-4148-AD2E-226CF9E70D96}" dt="2022-10-26T20:49:22.464" v="157" actId="1076"/>
          <ac:picMkLst>
            <pc:docMk/>
            <pc:sldMk cId="3372800696" sldId="1801"/>
            <ac:picMk id="9" creationId="{E2EACF58-D5AB-254A-19C1-8A330819F649}"/>
          </ac:picMkLst>
        </pc:picChg>
      </pc:sldChg>
      <pc:sldChg chg="addSp delSp modSp add replId">
        <pc:chgData name="Cathcart, Alex" userId="S::acathcart@deloitte.com::05962915-de22-4fd1-8c05-3b26da3d783f" providerId="AD" clId="Web-{59359B5E-FAF5-4148-AD2E-226CF9E70D96}" dt="2022-10-26T20:48:29.617" v="152" actId="1076"/>
        <pc:sldMkLst>
          <pc:docMk/>
          <pc:sldMk cId="2149214709" sldId="1802"/>
        </pc:sldMkLst>
        <pc:spChg chg="del">
          <ac:chgData name="Cathcart, Alex" userId="S::acathcart@deloitte.com::05962915-de22-4fd1-8c05-3b26da3d783f" providerId="AD" clId="Web-{59359B5E-FAF5-4148-AD2E-226CF9E70D96}" dt="2022-10-26T20:02:49.619" v="91"/>
          <ac:spMkLst>
            <pc:docMk/>
            <pc:sldMk cId="2149214709" sldId="1802"/>
            <ac:spMk id="2" creationId="{1AC28279-3FA5-AF48-EA8F-6F2B18981D6D}"/>
          </ac:spMkLst>
        </pc:spChg>
        <pc:spChg chg="del">
          <ac:chgData name="Cathcart, Alex" userId="S::acathcart@deloitte.com::05962915-de22-4fd1-8c05-3b26da3d783f" providerId="AD" clId="Web-{59359B5E-FAF5-4148-AD2E-226CF9E70D96}" dt="2022-10-26T20:02:48.697" v="90"/>
          <ac:spMkLst>
            <pc:docMk/>
            <pc:sldMk cId="2149214709" sldId="1802"/>
            <ac:spMk id="3" creationId="{75C15947-EB75-5D2E-F82F-CE9C08DF0A3F}"/>
          </ac:spMkLst>
        </pc:spChg>
        <pc:spChg chg="mod">
          <ac:chgData name="Cathcart, Alex" userId="S::acathcart@deloitte.com::05962915-de22-4fd1-8c05-3b26da3d783f" providerId="AD" clId="Web-{59359B5E-FAF5-4148-AD2E-226CF9E70D96}" dt="2022-10-26T20:01:00.945" v="82" actId="20577"/>
          <ac:spMkLst>
            <pc:docMk/>
            <pc:sldMk cId="2149214709" sldId="1802"/>
            <ac:spMk id="7" creationId="{DE31774E-5D23-A1E6-1DB9-B5DBFA745D8E}"/>
          </ac:spMkLst>
        </pc:spChg>
        <pc:spChg chg="del">
          <ac:chgData name="Cathcart, Alex" userId="S::acathcart@deloitte.com::05962915-de22-4fd1-8c05-3b26da3d783f" providerId="AD" clId="Web-{59359B5E-FAF5-4148-AD2E-226CF9E70D96}" dt="2022-10-26T20:01:03.367" v="83"/>
          <ac:spMkLst>
            <pc:docMk/>
            <pc:sldMk cId="2149214709" sldId="1802"/>
            <ac:spMk id="9" creationId="{410EF4F8-6987-0BA8-A954-740D7430F21E}"/>
          </ac:spMkLst>
        </pc:spChg>
        <pc:picChg chg="del">
          <ac:chgData name="Cathcart, Alex" userId="S::acathcart@deloitte.com::05962915-de22-4fd1-8c05-3b26da3d783f" providerId="AD" clId="Web-{59359B5E-FAF5-4148-AD2E-226CF9E70D96}" dt="2022-10-26T20:02:44.900" v="89"/>
          <ac:picMkLst>
            <pc:docMk/>
            <pc:sldMk cId="2149214709" sldId="1802"/>
            <ac:picMk id="5" creationId="{F7A1C0E4-4C16-B056-584E-92675FD650CA}"/>
          </ac:picMkLst>
        </pc:picChg>
        <pc:picChg chg="del">
          <ac:chgData name="Cathcart, Alex" userId="S::acathcart@deloitte.com::05962915-de22-4fd1-8c05-3b26da3d783f" providerId="AD" clId="Web-{59359B5E-FAF5-4148-AD2E-226CF9E70D96}" dt="2022-10-26T20:01:04.773" v="84"/>
          <ac:picMkLst>
            <pc:docMk/>
            <pc:sldMk cId="2149214709" sldId="1802"/>
            <ac:picMk id="6" creationId="{690745C0-83E6-7E9F-1606-245D4CBA872F}"/>
          </ac:picMkLst>
        </pc:picChg>
        <pc:picChg chg="add mod">
          <ac:chgData name="Cathcart, Alex" userId="S::acathcart@deloitte.com::05962915-de22-4fd1-8c05-3b26da3d783f" providerId="AD" clId="Web-{59359B5E-FAF5-4148-AD2E-226CF9E70D96}" dt="2022-10-26T20:04:52.138" v="110" actId="1076"/>
          <ac:picMkLst>
            <pc:docMk/>
            <pc:sldMk cId="2149214709" sldId="1802"/>
            <ac:picMk id="8" creationId="{358E6AA4-BA57-3CD5-BA66-5EE13A4CC33F}"/>
          </ac:picMkLst>
        </pc:picChg>
        <pc:picChg chg="add mod">
          <ac:chgData name="Cathcart, Alex" userId="S::acathcart@deloitte.com::05962915-de22-4fd1-8c05-3b26da3d783f" providerId="AD" clId="Web-{59359B5E-FAF5-4148-AD2E-226CF9E70D96}" dt="2022-10-26T20:04:56.482" v="111" actId="1076"/>
          <ac:picMkLst>
            <pc:docMk/>
            <pc:sldMk cId="2149214709" sldId="1802"/>
            <ac:picMk id="10" creationId="{F164E780-C8C8-59CB-D3B8-A89163D887EE}"/>
          </ac:picMkLst>
        </pc:picChg>
        <pc:picChg chg="mod">
          <ac:chgData name="Cathcart, Alex" userId="S::acathcart@deloitte.com::05962915-de22-4fd1-8c05-3b26da3d783f" providerId="AD" clId="Web-{59359B5E-FAF5-4148-AD2E-226CF9E70D96}" dt="2022-10-26T20:48:29.617" v="152" actId="1076"/>
          <ac:picMkLst>
            <pc:docMk/>
            <pc:sldMk cId="2149214709" sldId="1802"/>
            <ac:picMk id="12" creationId="{C5857B70-CCA1-7C79-E979-F14A0A9BA59A}"/>
          </ac:picMkLst>
        </pc:picChg>
        <pc:picChg chg="add">
          <ac:chgData name="Cathcart, Alex" userId="S::acathcart@deloitte.com::05962915-de22-4fd1-8c05-3b26da3d783f" providerId="AD" clId="Web-{59359B5E-FAF5-4148-AD2E-226CF9E70D96}" dt="2022-10-26T20:06:44.391" v="112"/>
          <ac:picMkLst>
            <pc:docMk/>
            <pc:sldMk cId="2149214709" sldId="1802"/>
            <ac:picMk id="13" creationId="{D7050935-7036-3169-D1E9-AF8CD2EB3C59}"/>
          </ac:picMkLst>
        </pc:picChg>
      </pc:sldChg>
      <pc:sldChg chg="add del replId">
        <pc:chgData name="Cathcart, Alex" userId="S::acathcart@deloitte.com::05962915-de22-4fd1-8c05-3b26da3d783f" providerId="AD" clId="Web-{59359B5E-FAF5-4148-AD2E-226CF9E70D96}" dt="2022-10-26T19:59:47.115" v="74"/>
        <pc:sldMkLst>
          <pc:docMk/>
          <pc:sldMk cId="3209044195" sldId="1802"/>
        </pc:sldMkLst>
      </pc:sldChg>
      <pc:sldChg chg="new del">
        <pc:chgData name="Cathcart, Alex" userId="S::acathcart@deloitte.com::05962915-de22-4fd1-8c05-3b26da3d783f" providerId="AD" clId="Web-{59359B5E-FAF5-4148-AD2E-226CF9E70D96}" dt="2022-10-26T19:57:59.175" v="72"/>
        <pc:sldMkLst>
          <pc:docMk/>
          <pc:sldMk cId="3898401916" sldId="1802"/>
        </pc:sldMkLst>
      </pc:sldChg>
    </pc:docChg>
  </pc:docChgLst>
  <pc:docChgLst>
    <pc:chgData name="Yun, Sara" userId="2e08eabf-edb1-48e1-8bc3-b3d7ae40e560" providerId="ADAL" clId="{09DE5B4A-6036-4A88-8E65-6B6EEFD4A662}"/>
    <pc:docChg chg="undo custSel addSld delSld modSld sldOrd">
      <pc:chgData name="Yun, Sara" userId="2e08eabf-edb1-48e1-8bc3-b3d7ae40e560" providerId="ADAL" clId="{09DE5B4A-6036-4A88-8E65-6B6EEFD4A662}" dt="2022-10-27T20:03:47.317" v="2603"/>
      <pc:docMkLst>
        <pc:docMk/>
      </pc:docMkLst>
      <pc:sldChg chg="addSp modSp mod modNotesTx">
        <pc:chgData name="Yun, Sara" userId="2e08eabf-edb1-48e1-8bc3-b3d7ae40e560" providerId="ADAL" clId="{09DE5B4A-6036-4A88-8E65-6B6EEFD4A662}" dt="2022-10-27T17:37:20.728" v="2601" actId="20577"/>
        <pc:sldMkLst>
          <pc:docMk/>
          <pc:sldMk cId="681282729" sldId="1795"/>
        </pc:sldMkLst>
        <pc:picChg chg="add mod">
          <ac:chgData name="Yun, Sara" userId="2e08eabf-edb1-48e1-8bc3-b3d7ae40e560" providerId="ADAL" clId="{09DE5B4A-6036-4A88-8E65-6B6EEFD4A662}" dt="2022-10-26T15:34:05.082" v="6" actId="14100"/>
          <ac:picMkLst>
            <pc:docMk/>
            <pc:sldMk cId="681282729" sldId="1795"/>
            <ac:picMk id="15" creationId="{692670B1-86E5-4C1B-80A0-BB7D22B45C82}"/>
          </ac:picMkLst>
        </pc:picChg>
      </pc:sldChg>
      <pc:sldChg chg="modNotesTx">
        <pc:chgData name="Yun, Sara" userId="2e08eabf-edb1-48e1-8bc3-b3d7ae40e560" providerId="ADAL" clId="{09DE5B4A-6036-4A88-8E65-6B6EEFD4A662}" dt="2022-10-27T15:21:55.225" v="2051" actId="20577"/>
        <pc:sldMkLst>
          <pc:docMk/>
          <pc:sldMk cId="1293087361" sldId="1798"/>
        </pc:sldMkLst>
      </pc:sldChg>
      <pc:sldChg chg="ord modNotesTx">
        <pc:chgData name="Yun, Sara" userId="2e08eabf-edb1-48e1-8bc3-b3d7ae40e560" providerId="ADAL" clId="{09DE5B4A-6036-4A88-8E65-6B6EEFD4A662}" dt="2022-10-27T20:03:47.317" v="2603"/>
        <pc:sldMkLst>
          <pc:docMk/>
          <pc:sldMk cId="2149214709" sldId="1802"/>
        </pc:sldMkLst>
      </pc:sldChg>
      <pc:sldChg chg="modSp mod modNotesTx">
        <pc:chgData name="Yun, Sara" userId="2e08eabf-edb1-48e1-8bc3-b3d7ae40e560" providerId="ADAL" clId="{09DE5B4A-6036-4A88-8E65-6B6EEFD4A662}" dt="2022-10-27T17:23:34.217" v="2475" actId="20577"/>
        <pc:sldMkLst>
          <pc:docMk/>
          <pc:sldMk cId="2073585440" sldId="1803"/>
        </pc:sldMkLst>
        <pc:spChg chg="mod">
          <ac:chgData name="Yun, Sara" userId="2e08eabf-edb1-48e1-8bc3-b3d7ae40e560" providerId="ADAL" clId="{09DE5B4A-6036-4A88-8E65-6B6EEFD4A662}" dt="2022-10-27T17:23:34.217" v="2475" actId="20577"/>
          <ac:spMkLst>
            <pc:docMk/>
            <pc:sldMk cId="2073585440" sldId="1803"/>
            <ac:spMk id="9" creationId="{16DFA5BF-711F-4500-5B49-07DEEEB5149E}"/>
          </ac:spMkLst>
        </pc:spChg>
      </pc:sldChg>
      <pc:sldChg chg="new del">
        <pc:chgData name="Yun, Sara" userId="2e08eabf-edb1-48e1-8bc3-b3d7ae40e560" providerId="ADAL" clId="{09DE5B4A-6036-4A88-8E65-6B6EEFD4A662}" dt="2022-10-27T17:24:44.418" v="2477" actId="2696"/>
        <pc:sldMkLst>
          <pc:docMk/>
          <pc:sldMk cId="2521669914" sldId="1804"/>
        </pc:sldMkLst>
      </pc:sldChg>
      <pc:sldChg chg="addSp delSp modSp add mod ord">
        <pc:chgData name="Yun, Sara" userId="2e08eabf-edb1-48e1-8bc3-b3d7ae40e560" providerId="ADAL" clId="{09DE5B4A-6036-4A88-8E65-6B6EEFD4A662}" dt="2022-10-27T17:26:02.534" v="2571" actId="478"/>
        <pc:sldMkLst>
          <pc:docMk/>
          <pc:sldMk cId="3014962844" sldId="1804"/>
        </pc:sldMkLst>
        <pc:spChg chg="del">
          <ac:chgData name="Yun, Sara" userId="2e08eabf-edb1-48e1-8bc3-b3d7ae40e560" providerId="ADAL" clId="{09DE5B4A-6036-4A88-8E65-6B6EEFD4A662}" dt="2022-10-27T17:25:39.970" v="2498" actId="478"/>
          <ac:spMkLst>
            <pc:docMk/>
            <pc:sldMk cId="3014962844" sldId="1804"/>
            <ac:spMk id="4" creationId="{B7D0FEE9-B395-B628-6E12-91BCF66D9A6C}"/>
          </ac:spMkLst>
        </pc:spChg>
        <pc:spChg chg="add del mod">
          <ac:chgData name="Yun, Sara" userId="2e08eabf-edb1-48e1-8bc3-b3d7ae40e560" providerId="ADAL" clId="{09DE5B4A-6036-4A88-8E65-6B6EEFD4A662}" dt="2022-10-27T17:26:02.534" v="2571" actId="478"/>
          <ac:spMkLst>
            <pc:docMk/>
            <pc:sldMk cId="3014962844" sldId="1804"/>
            <ac:spMk id="6" creationId="{7A713554-4487-4BDF-AC5D-6F1D2C603E3E}"/>
          </ac:spMkLst>
        </pc:spChg>
        <pc:spChg chg="mod">
          <ac:chgData name="Yun, Sara" userId="2e08eabf-edb1-48e1-8bc3-b3d7ae40e560" providerId="ADAL" clId="{09DE5B4A-6036-4A88-8E65-6B6EEFD4A662}" dt="2022-10-27T17:25:59.402" v="2570" actId="20577"/>
          <ac:spMkLst>
            <pc:docMk/>
            <pc:sldMk cId="3014962844" sldId="1804"/>
            <ac:spMk id="7" creationId="{DE31774E-5D23-A1E6-1DB9-B5DBFA745D8E}"/>
          </ac:spMkLst>
        </pc:spChg>
        <pc:spChg chg="add mod">
          <ac:chgData name="Yun, Sara" userId="2e08eabf-edb1-48e1-8bc3-b3d7ae40e560" providerId="ADAL" clId="{09DE5B4A-6036-4A88-8E65-6B6EEFD4A662}" dt="2022-10-27T17:25:31.587" v="2496" actId="1076"/>
          <ac:spMkLst>
            <pc:docMk/>
            <pc:sldMk cId="3014962844" sldId="1804"/>
            <ac:spMk id="9" creationId="{882150D2-504F-4133-8C91-8611B41BCB7E}"/>
          </ac:spMkLst>
        </pc:spChg>
        <pc:spChg chg="del mod">
          <ac:chgData name="Yun, Sara" userId="2e08eabf-edb1-48e1-8bc3-b3d7ae40e560" providerId="ADAL" clId="{09DE5B4A-6036-4A88-8E65-6B6EEFD4A662}" dt="2022-10-27T17:24:59.898" v="2482" actId="478"/>
          <ac:spMkLst>
            <pc:docMk/>
            <pc:sldMk cId="3014962844" sldId="1804"/>
            <ac:spMk id="10" creationId="{184BB420-3985-A09A-7EA7-5BDC2F3C3218}"/>
          </ac:spMkLst>
        </pc:spChg>
        <pc:spChg chg="add del">
          <ac:chgData name="Yun, Sara" userId="2e08eabf-edb1-48e1-8bc3-b3d7ae40e560" providerId="ADAL" clId="{09DE5B4A-6036-4A88-8E65-6B6EEFD4A662}" dt="2022-10-27T17:25:19.027" v="2493" actId="478"/>
          <ac:spMkLst>
            <pc:docMk/>
            <pc:sldMk cId="3014962844" sldId="1804"/>
            <ac:spMk id="12" creationId="{30D5BB12-A455-E6E6-AD11-01DCB32B0AC2}"/>
          </ac:spMkLst>
        </pc:spChg>
        <pc:spChg chg="add mod">
          <ac:chgData name="Yun, Sara" userId="2e08eabf-edb1-48e1-8bc3-b3d7ae40e560" providerId="ADAL" clId="{09DE5B4A-6036-4A88-8E65-6B6EEFD4A662}" dt="2022-10-27T17:25:31.587" v="2496" actId="1076"/>
          <ac:spMkLst>
            <pc:docMk/>
            <pc:sldMk cId="3014962844" sldId="1804"/>
            <ac:spMk id="13" creationId="{42C3CE16-487E-475E-A829-6E778CED149A}"/>
          </ac:spMkLst>
        </pc:spChg>
        <pc:picChg chg="del">
          <ac:chgData name="Yun, Sara" userId="2e08eabf-edb1-48e1-8bc3-b3d7ae40e560" providerId="ADAL" clId="{09DE5B4A-6036-4A88-8E65-6B6EEFD4A662}" dt="2022-10-27T17:25:00.653" v="2483" actId="478"/>
          <ac:picMkLst>
            <pc:docMk/>
            <pc:sldMk cId="3014962844" sldId="1804"/>
            <ac:picMk id="2" creationId="{89083761-B61F-F3C8-B7DC-EEA82191B749}"/>
          </ac:picMkLst>
        </pc:picChg>
        <pc:picChg chg="mod">
          <ac:chgData name="Yun, Sara" userId="2e08eabf-edb1-48e1-8bc3-b3d7ae40e560" providerId="ADAL" clId="{09DE5B4A-6036-4A88-8E65-6B6EEFD4A662}" dt="2022-10-27T17:25:35.825" v="2497" actId="1076"/>
          <ac:picMkLst>
            <pc:docMk/>
            <pc:sldMk cId="3014962844" sldId="1804"/>
            <ac:picMk id="5" creationId="{AE1950A6-92BC-49F8-BEB2-3B599BB0A6FE}"/>
          </ac:picMkLst>
        </pc:picChg>
        <pc:picChg chg="add mod">
          <ac:chgData name="Yun, Sara" userId="2e08eabf-edb1-48e1-8bc3-b3d7ae40e560" providerId="ADAL" clId="{09DE5B4A-6036-4A88-8E65-6B6EEFD4A662}" dt="2022-10-27T17:25:31.587" v="2496" actId="1076"/>
          <ac:picMkLst>
            <pc:docMk/>
            <pc:sldMk cId="3014962844" sldId="1804"/>
            <ac:picMk id="14" creationId="{399C4636-88C0-4EDF-ABC3-46EE774FC83D}"/>
          </ac:picMkLst>
        </pc:picChg>
      </pc:sldChg>
    </pc:docChg>
  </pc:docChgLst>
  <pc:docChgLst>
    <pc:chgData name="Wagner, Mason" userId="S::maswagner@deloitte.com::f1c33596-bee1-4a78-989b-e0dcd1a9a344" providerId="AD" clId="Web-{515F38FF-8C42-4CA4-9744-AAABC3A0063F}"/>
    <pc:docChg chg="addSld modSld">
      <pc:chgData name="Wagner, Mason" userId="S::maswagner@deloitte.com::f1c33596-bee1-4a78-989b-e0dcd1a9a344" providerId="AD" clId="Web-{515F38FF-8C42-4CA4-9744-AAABC3A0063F}" dt="2022-10-27T17:43:54.639" v="152" actId="20577"/>
      <pc:docMkLst>
        <pc:docMk/>
      </pc:docMkLst>
      <pc:sldChg chg="addSp delSp modSp">
        <pc:chgData name="Wagner, Mason" userId="S::maswagner@deloitte.com::f1c33596-bee1-4a78-989b-e0dcd1a9a344" providerId="AD" clId="Web-{515F38FF-8C42-4CA4-9744-AAABC3A0063F}" dt="2022-10-27T17:34:15.229" v="141" actId="20577"/>
        <pc:sldMkLst>
          <pc:docMk/>
          <pc:sldMk cId="197330321" sldId="1797"/>
        </pc:sldMkLst>
        <pc:spChg chg="mod">
          <ac:chgData name="Wagner, Mason" userId="S::maswagner@deloitte.com::f1c33596-bee1-4a78-989b-e0dcd1a9a344" providerId="AD" clId="Web-{515F38FF-8C42-4CA4-9744-AAABC3A0063F}" dt="2022-10-27T17:34:15.229" v="141" actId="20577"/>
          <ac:spMkLst>
            <pc:docMk/>
            <pc:sldMk cId="197330321" sldId="1797"/>
            <ac:spMk id="7" creationId="{DE31774E-5D23-A1E6-1DB9-B5DBFA745D8E}"/>
          </ac:spMkLst>
        </pc:spChg>
        <pc:picChg chg="del">
          <ac:chgData name="Wagner, Mason" userId="S::maswagner@deloitte.com::f1c33596-bee1-4a78-989b-e0dcd1a9a344" providerId="AD" clId="Web-{515F38FF-8C42-4CA4-9744-AAABC3A0063F}" dt="2022-10-27T17:14:47.471" v="17"/>
          <ac:picMkLst>
            <pc:docMk/>
            <pc:sldMk cId="197330321" sldId="1797"/>
            <ac:picMk id="3" creationId="{E7977D2A-1E76-33D0-4FE9-FEDB4109F09E}"/>
          </ac:picMkLst>
        </pc:picChg>
        <pc:picChg chg="add mod">
          <ac:chgData name="Wagner, Mason" userId="S::maswagner@deloitte.com::f1c33596-bee1-4a78-989b-e0dcd1a9a344" providerId="AD" clId="Web-{515F38FF-8C42-4CA4-9744-AAABC3A0063F}" dt="2022-10-27T17:15:17.895" v="23" actId="1076"/>
          <ac:picMkLst>
            <pc:docMk/>
            <pc:sldMk cId="197330321" sldId="1797"/>
            <ac:picMk id="5" creationId="{AE1950A6-92BC-49F8-BEB2-3B599BB0A6FE}"/>
          </ac:picMkLst>
        </pc:picChg>
      </pc:sldChg>
      <pc:sldChg chg="addSp delSp modSp add replId">
        <pc:chgData name="Wagner, Mason" userId="S::maswagner@deloitte.com::f1c33596-bee1-4a78-989b-e0dcd1a9a344" providerId="AD" clId="Web-{515F38FF-8C42-4CA4-9744-AAABC3A0063F}" dt="2022-10-27T17:43:54.639" v="152" actId="20577"/>
        <pc:sldMkLst>
          <pc:docMk/>
          <pc:sldMk cId="2073585440" sldId="1803"/>
        </pc:sldMkLst>
        <pc:spChg chg="add del mod">
          <ac:chgData name="Wagner, Mason" userId="S::maswagner@deloitte.com::f1c33596-bee1-4a78-989b-e0dcd1a9a344" providerId="AD" clId="Web-{515F38FF-8C42-4CA4-9744-AAABC3A0063F}" dt="2022-10-27T17:11:06.630" v="13"/>
          <ac:spMkLst>
            <pc:docMk/>
            <pc:sldMk cId="2073585440" sldId="1803"/>
            <ac:spMk id="3" creationId="{37C43580-487D-B5EB-F492-DA1B4578C59B}"/>
          </ac:spMkLst>
        </pc:spChg>
        <pc:spChg chg="mod">
          <ac:chgData name="Wagner, Mason" userId="S::maswagner@deloitte.com::f1c33596-bee1-4a78-989b-e0dcd1a9a344" providerId="AD" clId="Web-{515F38FF-8C42-4CA4-9744-AAABC3A0063F}" dt="2022-10-27T17:25:02.805" v="131" actId="20577"/>
          <ac:spMkLst>
            <pc:docMk/>
            <pc:sldMk cId="2073585440" sldId="1803"/>
            <ac:spMk id="7" creationId="{FF6813EE-0735-E519-F75E-5CB8B320F077}"/>
          </ac:spMkLst>
        </pc:spChg>
        <pc:spChg chg="mod">
          <ac:chgData name="Wagner, Mason" userId="S::maswagner@deloitte.com::f1c33596-bee1-4a78-989b-e0dcd1a9a344" providerId="AD" clId="Web-{515F38FF-8C42-4CA4-9744-AAABC3A0063F}" dt="2022-10-27T17:43:54.639" v="152" actId="20577"/>
          <ac:spMkLst>
            <pc:docMk/>
            <pc:sldMk cId="2073585440" sldId="1803"/>
            <ac:spMk id="9" creationId="{16DFA5BF-711F-4500-5B49-07DEEEB5149E}"/>
          </ac:spMkLst>
        </pc:spChg>
        <pc:spChg chg="del">
          <ac:chgData name="Wagner, Mason" userId="S::maswagner@deloitte.com::f1c33596-bee1-4a78-989b-e0dcd1a9a344" providerId="AD" clId="Web-{515F38FF-8C42-4CA4-9744-AAABC3A0063F}" dt="2022-10-27T17:22:27.436" v="91"/>
          <ac:spMkLst>
            <pc:docMk/>
            <pc:sldMk cId="2073585440" sldId="1803"/>
            <ac:spMk id="10" creationId="{3240192E-4723-5FB5-67BA-222730B812B5}"/>
          </ac:spMkLst>
        </pc:spChg>
        <pc:spChg chg="add mod ord">
          <ac:chgData name="Wagner, Mason" userId="S::maswagner@deloitte.com::f1c33596-bee1-4a78-989b-e0dcd1a9a344" providerId="AD" clId="Web-{515F38FF-8C42-4CA4-9744-AAABC3A0063F}" dt="2022-10-27T17:24:28.209" v="124"/>
          <ac:spMkLst>
            <pc:docMk/>
            <pc:sldMk cId="2073585440" sldId="1803"/>
            <ac:spMk id="13" creationId="{4B2D7482-29CE-A05D-5388-F70774BA529A}"/>
          </ac:spMkLst>
        </pc:spChg>
        <pc:grpChg chg="mod">
          <ac:chgData name="Wagner, Mason" userId="S::maswagner@deloitte.com::f1c33596-bee1-4a78-989b-e0dcd1a9a344" providerId="AD" clId="Web-{515F38FF-8C42-4CA4-9744-AAABC3A0063F}" dt="2022-10-27T17:27:54.768" v="138" actId="14100"/>
          <ac:grpSpMkLst>
            <pc:docMk/>
            <pc:sldMk cId="2073585440" sldId="1803"/>
            <ac:grpSpMk id="17" creationId="{747EA86C-A86C-42A0-96EE-B0D2322E6A67}"/>
          </ac:grpSpMkLst>
        </pc:grpChg>
        <pc:picChg chg="add mod ord">
          <ac:chgData name="Wagner, Mason" userId="S::maswagner@deloitte.com::f1c33596-bee1-4a78-989b-e0dcd1a9a344" providerId="AD" clId="Web-{515F38FF-8C42-4CA4-9744-AAABC3A0063F}" dt="2022-10-27T17:25:06.618" v="132" actId="1076"/>
          <ac:picMkLst>
            <pc:docMk/>
            <pc:sldMk cId="2073585440" sldId="1803"/>
            <ac:picMk id="5" creationId="{9AE2E130-58A6-5580-8E08-19FF8A9FCC49}"/>
          </ac:picMkLst>
        </pc:picChg>
        <pc:picChg chg="del">
          <ac:chgData name="Wagner, Mason" userId="S::maswagner@deloitte.com::f1c33596-bee1-4a78-989b-e0dcd1a9a344" providerId="AD" clId="Web-{515F38FF-8C42-4CA4-9744-AAABC3A0063F}" dt="2022-10-27T17:10:58.864" v="12"/>
          <ac:picMkLst>
            <pc:docMk/>
            <pc:sldMk cId="2073585440" sldId="1803"/>
            <ac:picMk id="8" creationId="{A185D672-1C8A-058D-7D91-56DD28D26ABB}"/>
          </ac:picMkLst>
        </pc:picChg>
      </pc:sldChg>
      <pc:sldChg chg="addSp mod modShow">
        <pc:chgData name="Wagner, Mason" userId="S::maswagner@deloitte.com::f1c33596-bee1-4a78-989b-e0dcd1a9a344" providerId="AD" clId="Web-{515F38FF-8C42-4CA4-9744-AAABC3A0063F}" dt="2022-10-27T17:26:03.215" v="135"/>
        <pc:sldMkLst>
          <pc:docMk/>
          <pc:sldMk cId="3014962844" sldId="1804"/>
        </pc:sldMkLst>
        <pc:picChg chg="add">
          <ac:chgData name="Wagner, Mason" userId="S::maswagner@deloitte.com::f1c33596-bee1-4a78-989b-e0dcd1a9a344" providerId="AD" clId="Web-{515F38FF-8C42-4CA4-9744-AAABC3A0063F}" dt="2022-10-27T17:26:03.215" v="135"/>
          <ac:picMkLst>
            <pc:docMk/>
            <pc:sldMk cId="3014962844" sldId="1804"/>
            <ac:picMk id="8" creationId="{7C7AEC73-2614-83DB-6B75-13B9A447B264}"/>
          </ac:picMkLst>
        </pc:picChg>
      </pc:sldChg>
    </pc:docChg>
  </pc:docChgLst>
  <pc:docChgLst>
    <pc:chgData name="Wagner, Mason" userId="S::maswagner@deloitte.com::f1c33596-bee1-4a78-989b-e0dcd1a9a344" providerId="AD" clId="Web-{7F14503C-A906-4A0E-8031-4FFC2D951CE1}"/>
    <pc:docChg chg="addSld delSld modSld sldOrd">
      <pc:chgData name="Wagner, Mason" userId="S::maswagner@deloitte.com::f1c33596-bee1-4a78-989b-e0dcd1a9a344" providerId="AD" clId="Web-{7F14503C-A906-4A0E-8031-4FFC2D951CE1}" dt="2022-10-26T20:14:56.121" v="2017" actId="20577"/>
      <pc:docMkLst>
        <pc:docMk/>
      </pc:docMkLst>
      <pc:sldChg chg="addSp delSp modSp">
        <pc:chgData name="Wagner, Mason" userId="S::maswagner@deloitte.com::f1c33596-bee1-4a78-989b-e0dcd1a9a344" providerId="AD" clId="Web-{7F14503C-A906-4A0E-8031-4FFC2D951CE1}" dt="2022-10-26T18:12:43.841" v="1576" actId="20577"/>
        <pc:sldMkLst>
          <pc:docMk/>
          <pc:sldMk cId="1225603327" sldId="457"/>
        </pc:sldMkLst>
        <pc:spChg chg="mod">
          <ac:chgData name="Wagner, Mason" userId="S::maswagner@deloitte.com::f1c33596-bee1-4a78-989b-e0dcd1a9a344" providerId="AD" clId="Web-{7F14503C-A906-4A0E-8031-4FFC2D951CE1}" dt="2022-10-26T18:12:43.841" v="1576" actId="20577"/>
          <ac:spMkLst>
            <pc:docMk/>
            <pc:sldMk cId="1225603327" sldId="457"/>
            <ac:spMk id="2" creationId="{A7882C1E-3F46-B21B-670C-CA43D5815F8F}"/>
          </ac:spMkLst>
        </pc:spChg>
        <pc:spChg chg="mod">
          <ac:chgData name="Wagner, Mason" userId="S::maswagner@deloitte.com::f1c33596-bee1-4a78-989b-e0dcd1a9a344" providerId="AD" clId="Web-{7F14503C-A906-4A0E-8031-4FFC2D951CE1}" dt="2022-10-26T18:11:00.116" v="1457" actId="20577"/>
          <ac:spMkLst>
            <pc:docMk/>
            <pc:sldMk cId="1225603327" sldId="457"/>
            <ac:spMk id="3" creationId="{00000000-0000-0000-0000-000000000000}"/>
          </ac:spMkLst>
        </pc:spChg>
        <pc:spChg chg="mod">
          <ac:chgData name="Wagner, Mason" userId="S::maswagner@deloitte.com::f1c33596-bee1-4a78-989b-e0dcd1a9a344" providerId="AD" clId="Web-{7F14503C-A906-4A0E-8031-4FFC2D951CE1}" dt="2022-10-26T17:54:09.776" v="1101" actId="20577"/>
          <ac:spMkLst>
            <pc:docMk/>
            <pc:sldMk cId="1225603327" sldId="457"/>
            <ac:spMk id="5" creationId="{03B7C34D-E025-01B9-84EC-4FAA7FBD4587}"/>
          </ac:spMkLst>
        </pc:spChg>
        <pc:spChg chg="mod">
          <ac:chgData name="Wagner, Mason" userId="S::maswagner@deloitte.com::f1c33596-bee1-4a78-989b-e0dcd1a9a344" providerId="AD" clId="Web-{7F14503C-A906-4A0E-8031-4FFC2D951CE1}" dt="2022-10-26T17:56:30.175" v="1389" actId="20577"/>
          <ac:spMkLst>
            <pc:docMk/>
            <pc:sldMk cId="1225603327" sldId="457"/>
            <ac:spMk id="7" creationId="{4EBD752C-3B6D-23A1-DBB7-C362B79B6CB6}"/>
          </ac:spMkLst>
        </pc:spChg>
        <pc:spChg chg="del">
          <ac:chgData name="Wagner, Mason" userId="S::maswagner@deloitte.com::f1c33596-bee1-4a78-989b-e0dcd1a9a344" providerId="AD" clId="Web-{7F14503C-A906-4A0E-8031-4FFC2D951CE1}" dt="2022-10-26T17:04:31.248" v="696"/>
          <ac:spMkLst>
            <pc:docMk/>
            <pc:sldMk cId="1225603327" sldId="457"/>
            <ac:spMk id="18" creationId="{00000000-0000-0000-0000-000000000000}"/>
          </ac:spMkLst>
        </pc:spChg>
        <pc:spChg chg="mod">
          <ac:chgData name="Wagner, Mason" userId="S::maswagner@deloitte.com::f1c33596-bee1-4a78-989b-e0dcd1a9a344" providerId="AD" clId="Web-{7F14503C-A906-4A0E-8031-4FFC2D951CE1}" dt="2022-10-26T17:15:37.022" v="853" actId="1076"/>
          <ac:spMkLst>
            <pc:docMk/>
            <pc:sldMk cId="1225603327" sldId="457"/>
            <ac:spMk id="19" creationId="{00000000-0000-0000-0000-000000000000}"/>
          </ac:spMkLst>
        </pc:spChg>
        <pc:spChg chg="del">
          <ac:chgData name="Wagner, Mason" userId="S::maswagner@deloitte.com::f1c33596-bee1-4a78-989b-e0dcd1a9a344" providerId="AD" clId="Web-{7F14503C-A906-4A0E-8031-4FFC2D951CE1}" dt="2022-10-26T17:04:32.858" v="697"/>
          <ac:spMkLst>
            <pc:docMk/>
            <pc:sldMk cId="1225603327" sldId="457"/>
            <ac:spMk id="20" creationId="{00000000-0000-0000-0000-000000000000}"/>
          </ac:spMkLst>
        </pc:spChg>
        <pc:spChg chg="add mod">
          <ac:chgData name="Wagner, Mason" userId="S::maswagner@deloitte.com::f1c33596-bee1-4a78-989b-e0dcd1a9a344" providerId="AD" clId="Web-{7F14503C-A906-4A0E-8031-4FFC2D951CE1}" dt="2022-10-26T18:00:03.500" v="1455" actId="20577"/>
          <ac:spMkLst>
            <pc:docMk/>
            <pc:sldMk cId="1225603327" sldId="457"/>
            <ac:spMk id="32" creationId="{D79FFC5F-5EB3-0BA1-D9FB-C2EC6D81CC8D}"/>
          </ac:spMkLst>
        </pc:spChg>
        <pc:picChg chg="add del">
          <ac:chgData name="Wagner, Mason" userId="S::maswagner@deloitte.com::f1c33596-bee1-4a78-989b-e0dcd1a9a344" providerId="AD" clId="Web-{7F14503C-A906-4A0E-8031-4FFC2D951CE1}" dt="2022-10-26T16:11:30.454" v="27"/>
          <ac:picMkLst>
            <pc:docMk/>
            <pc:sldMk cId="1225603327" sldId="457"/>
            <ac:picMk id="4" creationId="{FD2AFC66-7242-4ABD-B678-951BD2998136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3:32.617" v="41"/>
          <ac:picMkLst>
            <pc:docMk/>
            <pc:sldMk cId="1225603327" sldId="457"/>
            <ac:picMk id="6" creationId="{9640E3EB-49AA-1BB9-145E-1FF25FFEDA6B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9:14.965" v="82" actId="14100"/>
          <ac:picMkLst>
            <pc:docMk/>
            <pc:sldMk cId="1225603327" sldId="457"/>
            <ac:picMk id="8" creationId="{23BB4C79-1346-0860-77BF-8374C90B1701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5:16.201" v="63"/>
          <ac:picMkLst>
            <pc:docMk/>
            <pc:sldMk cId="1225603327" sldId="457"/>
            <ac:picMk id="10" creationId="{7C02A010-E190-6841-FA1F-69F275232F8A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7:24:41.210" v="893" actId="1076"/>
          <ac:picMkLst>
            <pc:docMk/>
            <pc:sldMk cId="1225603327" sldId="457"/>
            <ac:picMk id="12" creationId="{B6743DCB-F8F7-01AE-BDD8-F85207D09A5A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7:24:58.539" v="895" actId="1076"/>
          <ac:picMkLst>
            <pc:docMk/>
            <pc:sldMk cId="1225603327" sldId="457"/>
            <ac:picMk id="21" creationId="{6C89954F-4CC6-F113-4950-ACB90AB8EF36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7:24:35.037" v="892" actId="1076"/>
          <ac:picMkLst>
            <pc:docMk/>
            <pc:sldMk cId="1225603327" sldId="457"/>
            <ac:picMk id="23" creationId="{412F94FC-7CBD-D763-54EA-A6455B85A460}"/>
          </ac:picMkLst>
        </pc:picChg>
        <pc:cxnChg chg="add del mod">
          <ac:chgData name="Wagner, Mason" userId="S::maswagner@deloitte.com::f1c33596-bee1-4a78-989b-e0dcd1a9a344" providerId="AD" clId="Web-{7F14503C-A906-4A0E-8031-4FFC2D951CE1}" dt="2022-10-26T17:10:15.862" v="803"/>
          <ac:cxnSpMkLst>
            <pc:docMk/>
            <pc:sldMk cId="1225603327" sldId="457"/>
            <ac:cxnSpMk id="24" creationId="{3BA99661-F089-7198-1A48-0817766CEB1A}"/>
          </ac:cxnSpMkLst>
        </pc:cxnChg>
        <pc:cxnChg chg="add del mod">
          <ac:chgData name="Wagner, Mason" userId="S::maswagner@deloitte.com::f1c33596-bee1-4a78-989b-e0dcd1a9a344" providerId="AD" clId="Web-{7F14503C-A906-4A0E-8031-4FFC2D951CE1}" dt="2022-10-26T17:14:46.425" v="838"/>
          <ac:cxnSpMkLst>
            <pc:docMk/>
            <pc:sldMk cId="1225603327" sldId="457"/>
            <ac:cxnSpMk id="25" creationId="{4F49D582-ACBA-715F-2488-C6040FEB0F9F}"/>
          </ac:cxnSpMkLst>
        </pc:cxnChg>
        <pc:cxnChg chg="add del mod">
          <ac:chgData name="Wagner, Mason" userId="S::maswagner@deloitte.com::f1c33596-bee1-4a78-989b-e0dcd1a9a344" providerId="AD" clId="Web-{7F14503C-A906-4A0E-8031-4FFC2D951CE1}" dt="2022-10-26T17:14:46.425" v="837"/>
          <ac:cxnSpMkLst>
            <pc:docMk/>
            <pc:sldMk cId="1225603327" sldId="457"/>
            <ac:cxnSpMk id="26" creationId="{742CB7FB-2645-375D-70ED-E41DEB99CFD4}"/>
          </ac:cxnSpMkLst>
        </pc:cxnChg>
        <pc:cxnChg chg="add del mod">
          <ac:chgData name="Wagner, Mason" userId="S::maswagner@deloitte.com::f1c33596-bee1-4a78-989b-e0dcd1a9a344" providerId="AD" clId="Web-{7F14503C-A906-4A0E-8031-4FFC2D951CE1}" dt="2022-10-26T17:12:42.293" v="824"/>
          <ac:cxnSpMkLst>
            <pc:docMk/>
            <pc:sldMk cId="1225603327" sldId="457"/>
            <ac:cxnSpMk id="27" creationId="{C3898F18-587E-604D-B447-21624A70C254}"/>
          </ac:cxnSpMkLst>
        </pc:cxnChg>
        <pc:cxnChg chg="add del mod">
          <ac:chgData name="Wagner, Mason" userId="S::maswagner@deloitte.com::f1c33596-bee1-4a78-989b-e0dcd1a9a344" providerId="AD" clId="Web-{7F14503C-A906-4A0E-8031-4FFC2D951CE1}" dt="2022-10-26T17:14:46.425" v="836"/>
          <ac:cxnSpMkLst>
            <pc:docMk/>
            <pc:sldMk cId="1225603327" sldId="457"/>
            <ac:cxnSpMk id="28" creationId="{2479D686-8952-C805-4B19-C18C33ECF4CA}"/>
          </ac:cxnSpMkLst>
        </pc:cxnChg>
        <pc:cxnChg chg="add mod">
          <ac:chgData name="Wagner, Mason" userId="S::maswagner@deloitte.com::f1c33596-bee1-4a78-989b-e0dcd1a9a344" providerId="AD" clId="Web-{7F14503C-A906-4A0E-8031-4FFC2D951CE1}" dt="2022-10-26T17:25:07.133" v="896"/>
          <ac:cxnSpMkLst>
            <pc:docMk/>
            <pc:sldMk cId="1225603327" sldId="457"/>
            <ac:cxnSpMk id="29" creationId="{6F9ACA37-DA04-A97C-88BB-6968225A4279}"/>
          </ac:cxnSpMkLst>
        </pc:cxnChg>
        <pc:cxnChg chg="add mod">
          <ac:chgData name="Wagner, Mason" userId="S::maswagner@deloitte.com::f1c33596-bee1-4a78-989b-e0dcd1a9a344" providerId="AD" clId="Web-{7F14503C-A906-4A0E-8031-4FFC2D951CE1}" dt="2022-10-26T17:25:13.180" v="898"/>
          <ac:cxnSpMkLst>
            <pc:docMk/>
            <pc:sldMk cId="1225603327" sldId="457"/>
            <ac:cxnSpMk id="30" creationId="{83F49D59-2DEA-86B8-A84E-47F7AD97701F}"/>
          </ac:cxnSpMkLst>
        </pc:cxnChg>
        <pc:cxnChg chg="add mod">
          <ac:chgData name="Wagner, Mason" userId="S::maswagner@deloitte.com::f1c33596-bee1-4a78-989b-e0dcd1a9a344" providerId="AD" clId="Web-{7F14503C-A906-4A0E-8031-4FFC2D951CE1}" dt="2022-10-26T17:25:10.602" v="897"/>
          <ac:cxnSpMkLst>
            <pc:docMk/>
            <pc:sldMk cId="1225603327" sldId="457"/>
            <ac:cxnSpMk id="31" creationId="{49043D56-A589-6A2B-87CB-A940B1E14CC0}"/>
          </ac:cxnSpMkLst>
        </pc:cxnChg>
      </pc:sldChg>
      <pc:sldChg chg="addSp delSp modSp">
        <pc:chgData name="Wagner, Mason" userId="S::maswagner@deloitte.com::f1c33596-bee1-4a78-989b-e0dcd1a9a344" providerId="AD" clId="Web-{7F14503C-A906-4A0E-8031-4FFC2D951CE1}" dt="2022-10-26T16:19:10.996" v="81" actId="14100"/>
        <pc:sldMkLst>
          <pc:docMk/>
          <pc:sldMk cId="230052633" sldId="514"/>
        </pc:sldMkLst>
        <pc:picChg chg="add del">
          <ac:chgData name="Wagner, Mason" userId="S::maswagner@deloitte.com::f1c33596-bee1-4a78-989b-e0dcd1a9a344" providerId="AD" clId="Web-{7F14503C-A906-4A0E-8031-4FFC2D951CE1}" dt="2022-10-26T16:11:34.938" v="29"/>
          <ac:picMkLst>
            <pc:docMk/>
            <pc:sldMk cId="230052633" sldId="514"/>
            <ac:picMk id="5" creationId="{290859D5-E0CB-D606-9DDB-055560708BB7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5:07.513" v="61" actId="14100"/>
          <ac:picMkLst>
            <pc:docMk/>
            <pc:sldMk cId="230052633" sldId="514"/>
            <ac:picMk id="8" creationId="{2A04AC7E-98A5-B3B5-B6E4-CF30E8E4C062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15:04.419" v="60"/>
          <ac:picMkLst>
            <pc:docMk/>
            <pc:sldMk cId="230052633" sldId="514"/>
            <ac:picMk id="11" creationId="{B244FFFE-51FA-85E1-43FC-D03A1F69EBB0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5:10.966" v="62"/>
          <ac:picMkLst>
            <pc:docMk/>
            <pc:sldMk cId="230052633" sldId="514"/>
            <ac:picMk id="15" creationId="{62669A6E-2ED7-8AEF-1835-9EF7A03B92C1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9:10.996" v="81" actId="14100"/>
          <ac:picMkLst>
            <pc:docMk/>
            <pc:sldMk cId="230052633" sldId="514"/>
            <ac:picMk id="17" creationId="{36B43C4F-4AED-4E81-FE35-60A2F05FAD05}"/>
          </ac:picMkLst>
        </pc:picChg>
      </pc:sldChg>
      <pc:sldChg chg="addSp delSp del">
        <pc:chgData name="Wagner, Mason" userId="S::maswagner@deloitte.com::f1c33596-bee1-4a78-989b-e0dcd1a9a344" providerId="AD" clId="Web-{7F14503C-A906-4A0E-8031-4FFC2D951CE1}" dt="2022-10-26T16:27:30.947" v="168"/>
        <pc:sldMkLst>
          <pc:docMk/>
          <pc:sldMk cId="1355440607" sldId="669"/>
        </pc:sldMkLst>
        <pc:picChg chg="add del">
          <ac:chgData name="Wagner, Mason" userId="S::maswagner@deloitte.com::f1c33596-bee1-4a78-989b-e0dcd1a9a344" providerId="AD" clId="Web-{7F14503C-A906-4A0E-8031-4FFC2D951CE1}" dt="2022-10-26T16:11:37.595" v="30"/>
          <ac:picMkLst>
            <pc:docMk/>
            <pc:sldMk cId="1355440607" sldId="669"/>
            <ac:picMk id="5" creationId="{8F7D2C2C-A636-0325-B90B-99A7A1904B48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5:00.435" v="58"/>
          <ac:picMkLst>
            <pc:docMk/>
            <pc:sldMk cId="1355440607" sldId="669"/>
            <ac:picMk id="7" creationId="{0F2615D9-A914-DCFB-21F3-1D2A052E1ECC}"/>
          </ac:picMkLst>
        </pc:picChg>
      </pc:sldChg>
      <pc:sldChg chg="addSp delSp modSp">
        <pc:chgData name="Wagner, Mason" userId="S::maswagner@deloitte.com::f1c33596-bee1-4a78-989b-e0dcd1a9a344" providerId="AD" clId="Web-{7F14503C-A906-4A0E-8031-4FFC2D951CE1}" dt="2022-10-26T20:14:56.121" v="2017" actId="20577"/>
        <pc:sldMkLst>
          <pc:docMk/>
          <pc:sldMk cId="3801425194" sldId="719"/>
        </pc:sldMkLst>
        <pc:spChg chg="add del mod">
          <ac:chgData name="Wagner, Mason" userId="S::maswagner@deloitte.com::f1c33596-bee1-4a78-989b-e0dcd1a9a344" providerId="AD" clId="Web-{7F14503C-A906-4A0E-8031-4FFC2D951CE1}" dt="2022-10-26T20:10:38.868" v="1753"/>
          <ac:spMkLst>
            <pc:docMk/>
            <pc:sldMk cId="3801425194" sldId="719"/>
            <ac:spMk id="2" creationId="{DE769997-148B-F633-13A2-66B2585475B8}"/>
          </ac:spMkLst>
        </pc:spChg>
        <pc:spChg chg="add mod">
          <ac:chgData name="Wagner, Mason" userId="S::maswagner@deloitte.com::f1c33596-bee1-4a78-989b-e0dcd1a9a344" providerId="AD" clId="Web-{7F14503C-A906-4A0E-8031-4FFC2D951CE1}" dt="2022-10-26T20:14:56.121" v="2017" actId="20577"/>
          <ac:spMkLst>
            <pc:docMk/>
            <pc:sldMk cId="3801425194" sldId="719"/>
            <ac:spMk id="3" creationId="{BF39FE45-2A4F-0224-4E18-4B83161A20C8}"/>
          </ac:spMkLst>
        </pc:spChg>
        <pc:spChg chg="add mod">
          <ac:chgData name="Wagner, Mason" userId="S::maswagner@deloitte.com::f1c33596-bee1-4a78-989b-e0dcd1a9a344" providerId="AD" clId="Web-{7F14503C-A906-4A0E-8031-4FFC2D951CE1}" dt="2022-10-26T20:13:30.224" v="1922" actId="14100"/>
          <ac:spMkLst>
            <pc:docMk/>
            <pc:sldMk cId="3801425194" sldId="719"/>
            <ac:spMk id="4" creationId="{30CD6658-74C5-62ED-5FF1-DF8AE9831676}"/>
          </ac:spMkLst>
        </pc:spChg>
        <pc:spChg chg="add mod">
          <ac:chgData name="Wagner, Mason" userId="S::maswagner@deloitte.com::f1c33596-bee1-4a78-989b-e0dcd1a9a344" providerId="AD" clId="Web-{7F14503C-A906-4A0E-8031-4FFC2D951CE1}" dt="2022-10-26T20:14:05.320" v="1986" actId="20577"/>
          <ac:spMkLst>
            <pc:docMk/>
            <pc:sldMk cId="3801425194" sldId="719"/>
            <ac:spMk id="6" creationId="{250CC914-44E5-BB8B-9745-49FA88A0F69A}"/>
          </ac:spMkLst>
        </pc:spChg>
        <pc:spChg chg="add mod">
          <ac:chgData name="Wagner, Mason" userId="S::maswagner@deloitte.com::f1c33596-bee1-4a78-989b-e0dcd1a9a344" providerId="AD" clId="Web-{7F14503C-A906-4A0E-8031-4FFC2D951CE1}" dt="2022-10-26T20:12:58.691" v="1884" actId="20577"/>
          <ac:spMkLst>
            <pc:docMk/>
            <pc:sldMk cId="3801425194" sldId="719"/>
            <ac:spMk id="8" creationId="{70B0ABB1-A1DD-B388-6B30-1455CD3F7725}"/>
          </ac:spMkLst>
        </pc:spChg>
        <pc:spChg chg="add mod">
          <ac:chgData name="Wagner, Mason" userId="S::maswagner@deloitte.com::f1c33596-bee1-4a78-989b-e0dcd1a9a344" providerId="AD" clId="Web-{7F14503C-A906-4A0E-8031-4FFC2D951CE1}" dt="2022-10-26T20:13:01.863" v="1885" actId="20577"/>
          <ac:spMkLst>
            <pc:docMk/>
            <pc:sldMk cId="3801425194" sldId="719"/>
            <ac:spMk id="9" creationId="{A1DC8EF3-DD2E-1F37-99F3-E1E63E62C785}"/>
          </ac:spMkLst>
        </pc:spChg>
        <pc:picChg chg="add del mod">
          <ac:chgData name="Wagner, Mason" userId="S::maswagner@deloitte.com::f1c33596-bee1-4a78-989b-e0dcd1a9a344" providerId="AD" clId="Web-{7F14503C-A906-4A0E-8031-4FFC2D951CE1}" dt="2022-10-26T16:13:42.368" v="43"/>
          <ac:picMkLst>
            <pc:docMk/>
            <pc:sldMk cId="3801425194" sldId="719"/>
            <ac:picMk id="3" creationId="{ADCFF9D2-D149-262B-1F1F-F1263863058B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3:36.664" v="42"/>
          <ac:picMkLst>
            <pc:docMk/>
            <pc:sldMk cId="3801425194" sldId="719"/>
            <ac:picMk id="5" creationId="{12F3718E-4EEA-A09C-6B84-15E1BD24F32D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9:20.075" v="83" actId="14100"/>
          <ac:picMkLst>
            <pc:docMk/>
            <pc:sldMk cId="3801425194" sldId="719"/>
            <ac:picMk id="7" creationId="{41C0885F-28DF-B83A-2E12-7C10E1D0FC00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5:18.561" v="64"/>
          <ac:picMkLst>
            <pc:docMk/>
            <pc:sldMk cId="3801425194" sldId="719"/>
            <ac:picMk id="10" creationId="{1FAAE5D5-5F20-6C77-FA1C-CA3C20B5DB3F}"/>
          </ac:picMkLst>
        </pc:picChg>
      </pc:sldChg>
      <pc:sldChg chg="addSp delSp modSp">
        <pc:chgData name="Wagner, Mason" userId="S::maswagner@deloitte.com::f1c33596-bee1-4a78-989b-e0dcd1a9a344" providerId="AD" clId="Web-{7F14503C-A906-4A0E-8031-4FFC2D951CE1}" dt="2022-10-26T17:23:51.363" v="886" actId="1076"/>
        <pc:sldMkLst>
          <pc:docMk/>
          <pc:sldMk cId="3102866459" sldId="779"/>
        </pc:sldMkLst>
        <pc:spChg chg="mod">
          <ac:chgData name="Wagner, Mason" userId="S::maswagner@deloitte.com::f1c33596-bee1-4a78-989b-e0dcd1a9a344" providerId="AD" clId="Web-{7F14503C-A906-4A0E-8031-4FFC2D951CE1}" dt="2022-10-26T16:20:20.328" v="90" actId="20577"/>
          <ac:spMkLst>
            <pc:docMk/>
            <pc:sldMk cId="3102866459" sldId="779"/>
            <ac:spMk id="3" creationId="{F52C0ACD-0D98-4DE6-9146-54BD5195D6AF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39.644" v="884" actId="1076"/>
          <ac:spMkLst>
            <pc:docMk/>
            <pc:sldMk cId="3102866459" sldId="779"/>
            <ac:spMk id="5" creationId="{156238EA-9910-422C-C492-35D25AD8467F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46.160" v="885" actId="1076"/>
          <ac:spMkLst>
            <pc:docMk/>
            <pc:sldMk cId="3102866459" sldId="779"/>
            <ac:spMk id="7" creationId="{13BFA71B-0196-D0A2-53FD-2D348E757707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51.363" v="886" actId="1076"/>
          <ac:spMkLst>
            <pc:docMk/>
            <pc:sldMk cId="3102866459" sldId="779"/>
            <ac:spMk id="9" creationId="{AE0A6794-46CC-DB7A-A333-E56B679275CA}"/>
          </ac:spMkLst>
        </pc:spChg>
        <pc:picChg chg="add del">
          <ac:chgData name="Wagner, Mason" userId="S::maswagner@deloitte.com::f1c33596-bee1-4a78-989b-e0dcd1a9a344" providerId="AD" clId="Web-{7F14503C-A906-4A0E-8031-4FFC2D951CE1}" dt="2022-10-26T16:11:40.220" v="31"/>
          <ac:picMkLst>
            <pc:docMk/>
            <pc:sldMk cId="3102866459" sldId="779"/>
            <ac:picMk id="8" creationId="{315F0E3E-6C48-CB0F-FA43-073032DC00FC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9:06.433" v="80" actId="14100"/>
          <ac:picMkLst>
            <pc:docMk/>
            <pc:sldMk cId="3102866459" sldId="779"/>
            <ac:picMk id="11" creationId="{2D44BB09-F3EE-A210-4B9C-3D516E45AF33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4:17.401" v="49"/>
          <ac:picMkLst>
            <pc:docMk/>
            <pc:sldMk cId="3102866459" sldId="779"/>
            <ac:picMk id="13" creationId="{9C591C25-FD15-245B-A0EB-7CBCB64C3010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4:58.450" v="57"/>
          <ac:picMkLst>
            <pc:docMk/>
            <pc:sldMk cId="3102866459" sldId="779"/>
            <ac:picMk id="15" creationId="{A60A4AD2-51DC-691A-4F94-16410EB07C97}"/>
          </ac:picMkLst>
        </pc:picChg>
      </pc:sldChg>
      <pc:sldChg chg="addSp delSp modSp">
        <pc:chgData name="Wagner, Mason" userId="S::maswagner@deloitte.com::f1c33596-bee1-4a78-989b-e0dcd1a9a344" providerId="AD" clId="Web-{7F14503C-A906-4A0E-8031-4FFC2D951CE1}" dt="2022-10-26T17:49:10.587" v="960" actId="20577"/>
        <pc:sldMkLst>
          <pc:docMk/>
          <pc:sldMk cId="2954052399" sldId="1791"/>
        </pc:sldMkLst>
        <pc:spChg chg="mod">
          <ac:chgData name="Wagner, Mason" userId="S::maswagner@deloitte.com::f1c33596-bee1-4a78-989b-e0dcd1a9a344" providerId="AD" clId="Web-{7F14503C-A906-4A0E-8031-4FFC2D951CE1}" dt="2022-10-26T17:49:10.587" v="960" actId="20577"/>
          <ac:spMkLst>
            <pc:docMk/>
            <pc:sldMk cId="2954052399" sldId="1791"/>
            <ac:spMk id="50" creationId="{00000000-0000-0000-0000-000000000000}"/>
          </ac:spMkLst>
        </pc:spChg>
        <pc:spChg chg="mod">
          <ac:chgData name="Wagner, Mason" userId="S::maswagner@deloitte.com::f1c33596-bee1-4a78-989b-e0dcd1a9a344" providerId="AD" clId="Web-{7F14503C-A906-4A0E-8031-4FFC2D951CE1}" dt="2022-10-26T17:49:06.618" v="951" actId="20577"/>
          <ac:spMkLst>
            <pc:docMk/>
            <pc:sldMk cId="2954052399" sldId="1791"/>
            <ac:spMk id="65" creationId="{00000000-0000-0000-0000-000000000000}"/>
          </ac:spMkLst>
        </pc:spChg>
        <pc:spChg chg="mod">
          <ac:chgData name="Wagner, Mason" userId="S::maswagner@deloitte.com::f1c33596-bee1-4a78-989b-e0dcd1a9a344" providerId="AD" clId="Web-{7F14503C-A906-4A0E-8031-4FFC2D951CE1}" dt="2022-10-26T17:48:59.789" v="933" actId="20577"/>
          <ac:spMkLst>
            <pc:docMk/>
            <pc:sldMk cId="2954052399" sldId="1791"/>
            <ac:spMk id="69" creationId="{00000000-0000-0000-0000-000000000000}"/>
          </ac:spMkLst>
        </pc:spChg>
        <pc:picChg chg="add del mod">
          <ac:chgData name="Wagner, Mason" userId="S::maswagner@deloitte.com::f1c33596-bee1-4a78-989b-e0dcd1a9a344" providerId="AD" clId="Web-{7F14503C-A906-4A0E-8031-4FFC2D951CE1}" dt="2022-10-26T16:11:45.142" v="33"/>
          <ac:picMkLst>
            <pc:docMk/>
            <pc:sldMk cId="2954052399" sldId="1791"/>
            <ac:picMk id="4" creationId="{25F193F3-1367-D7E4-3C54-4AE6A306FDD6}"/>
          </ac:picMkLst>
        </pc:picChg>
        <pc:picChg chg="add mod ord">
          <ac:chgData name="Wagner, Mason" userId="S::maswagner@deloitte.com::f1c33596-bee1-4a78-989b-e0dcd1a9a344" providerId="AD" clId="Web-{7F14503C-A906-4A0E-8031-4FFC2D951CE1}" dt="2022-10-26T16:18:05.289" v="76" actId="1076"/>
          <ac:picMkLst>
            <pc:docMk/>
            <pc:sldMk cId="2954052399" sldId="1791"/>
            <ac:picMk id="6" creationId="{369CC356-940B-1556-F6C3-5DB45FF9D3BD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3:20.460" v="37" actId="1076"/>
          <ac:picMkLst>
            <pc:docMk/>
            <pc:sldMk cId="2954052399" sldId="1791"/>
            <ac:picMk id="7" creationId="{D2DD58EA-1FEE-26BF-E970-7EAFA45A03B4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8:58.308" v="78" actId="14100"/>
          <ac:picMkLst>
            <pc:docMk/>
            <pc:sldMk cId="2954052399" sldId="1791"/>
            <ac:picMk id="8" creationId="{4735AACF-605C-2863-2030-7E9048F0D9F8}"/>
          </ac:picMkLst>
        </pc:picChg>
      </pc:sldChg>
      <pc:sldChg chg="addSp delSp del">
        <pc:chgData name="Wagner, Mason" userId="S::maswagner@deloitte.com::f1c33596-bee1-4a78-989b-e0dcd1a9a344" providerId="AD" clId="Web-{7F14503C-A906-4A0E-8031-4FFC2D951CE1}" dt="2022-10-26T16:27:32.807" v="169"/>
        <pc:sldMkLst>
          <pc:docMk/>
          <pc:sldMk cId="3382658181" sldId="1792"/>
        </pc:sldMkLst>
        <pc:picChg chg="add del">
          <ac:chgData name="Wagner, Mason" userId="S::maswagner@deloitte.com::f1c33596-bee1-4a78-989b-e0dcd1a9a344" providerId="AD" clId="Web-{7F14503C-A906-4A0E-8031-4FFC2D951CE1}" dt="2022-10-26T16:11:32.563" v="28"/>
          <ac:picMkLst>
            <pc:docMk/>
            <pc:sldMk cId="3382658181" sldId="1792"/>
            <ac:picMk id="4" creationId="{47581AFF-C27D-B914-2CC2-B483A8F1CB5D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9:32.466" v="84"/>
          <ac:picMkLst>
            <pc:docMk/>
            <pc:sldMk cId="3382658181" sldId="1792"/>
            <ac:picMk id="6" creationId="{F71142CE-FACE-6795-32E6-D4D4DFEB1323}"/>
          </ac:picMkLst>
        </pc:picChg>
      </pc:sldChg>
      <pc:sldChg chg="addSp delSp modSp del">
        <pc:chgData name="Wagner, Mason" userId="S::maswagner@deloitte.com::f1c33596-bee1-4a78-989b-e0dcd1a9a344" providerId="AD" clId="Web-{7F14503C-A906-4A0E-8031-4FFC2D951CE1}" dt="2022-10-26T16:27:34.838" v="170"/>
        <pc:sldMkLst>
          <pc:docMk/>
          <pc:sldMk cId="4250281541" sldId="1793"/>
        </pc:sldMkLst>
        <pc:picChg chg="add del mod">
          <ac:chgData name="Wagner, Mason" userId="S::maswagner@deloitte.com::f1c33596-bee1-4a78-989b-e0dcd1a9a344" providerId="AD" clId="Web-{7F14503C-A906-4A0E-8031-4FFC2D951CE1}" dt="2022-10-26T16:11:28.266" v="26"/>
          <ac:picMkLst>
            <pc:docMk/>
            <pc:sldMk cId="4250281541" sldId="1793"/>
            <ac:picMk id="4" creationId="{F69D45E0-4E27-A471-37C1-9A8488790CFA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9:35.998" v="85"/>
          <ac:picMkLst>
            <pc:docMk/>
            <pc:sldMk cId="4250281541" sldId="1793"/>
            <ac:picMk id="6" creationId="{3D547A00-0162-6434-8D73-2386A22D2AE1}"/>
          </ac:picMkLst>
        </pc:picChg>
      </pc:sldChg>
      <pc:sldChg chg="addSp delSp">
        <pc:chgData name="Wagner, Mason" userId="S::maswagner@deloitte.com::f1c33596-bee1-4a78-989b-e0dcd1a9a344" providerId="AD" clId="Web-{7F14503C-A906-4A0E-8031-4FFC2D951CE1}" dt="2022-10-26T16:19:37.716" v="86"/>
        <pc:sldMkLst>
          <pc:docMk/>
          <pc:sldMk cId="1832683842" sldId="1794"/>
        </pc:sldMkLst>
        <pc:picChg chg="add del">
          <ac:chgData name="Wagner, Mason" userId="S::maswagner@deloitte.com::f1c33596-bee1-4a78-989b-e0dcd1a9a344" providerId="AD" clId="Web-{7F14503C-A906-4A0E-8031-4FFC2D951CE1}" dt="2022-10-26T16:11:22.266" v="22"/>
          <ac:picMkLst>
            <pc:docMk/>
            <pc:sldMk cId="1832683842" sldId="1794"/>
            <ac:picMk id="3" creationId="{2DD94213-3B53-6E23-6ED7-229EA9AB14B9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11:20.312" v="21"/>
          <ac:picMkLst>
            <pc:docMk/>
            <pc:sldMk cId="1832683842" sldId="1794"/>
            <ac:picMk id="7" creationId="{39646A35-2D42-177A-1A84-9BA2FAA9E127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11:25.594" v="24"/>
          <ac:picMkLst>
            <pc:docMk/>
            <pc:sldMk cId="1832683842" sldId="1794"/>
            <ac:picMk id="9" creationId="{4D02757E-5282-465E-9EB8-BC3C027EAE8E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9:37.716" v="86"/>
          <ac:picMkLst>
            <pc:docMk/>
            <pc:sldMk cId="1832683842" sldId="1794"/>
            <ac:picMk id="11" creationId="{ADA7E83B-F411-4ED3-0108-28428A3A172E}"/>
          </ac:picMkLst>
        </pc:picChg>
      </pc:sldChg>
      <pc:sldChg chg="modSp">
        <pc:chgData name="Wagner, Mason" userId="S::maswagner@deloitte.com::f1c33596-bee1-4a78-989b-e0dcd1a9a344" providerId="AD" clId="Web-{7F14503C-A906-4A0E-8031-4FFC2D951CE1}" dt="2022-10-26T17:46:49.672" v="899" actId="20577"/>
        <pc:sldMkLst>
          <pc:docMk/>
          <pc:sldMk cId="681282729" sldId="1795"/>
        </pc:sldMkLst>
        <pc:spChg chg="mod">
          <ac:chgData name="Wagner, Mason" userId="S::maswagner@deloitte.com::f1c33596-bee1-4a78-989b-e0dcd1a9a344" providerId="AD" clId="Web-{7F14503C-A906-4A0E-8031-4FFC2D951CE1}" dt="2022-10-26T17:46:49.672" v="899" actId="20577"/>
          <ac:spMkLst>
            <pc:docMk/>
            <pc:sldMk cId="681282729" sldId="1795"/>
            <ac:spMk id="4" creationId="{40B9048D-FF26-B68A-452B-580E9E1CF08A}"/>
          </ac:spMkLst>
        </pc:spChg>
        <pc:spChg chg="mod">
          <ac:chgData name="Wagner, Mason" userId="S::maswagner@deloitte.com::f1c33596-bee1-4a78-989b-e0dcd1a9a344" providerId="AD" clId="Web-{7F14503C-A906-4A0E-8031-4FFC2D951CE1}" dt="2022-10-26T16:16:42.534" v="67" actId="1076"/>
          <ac:spMkLst>
            <pc:docMk/>
            <pc:sldMk cId="681282729" sldId="1795"/>
            <ac:spMk id="6" creationId="{89F2A90C-FB2E-9369-F302-4F09D5FAA2CC}"/>
          </ac:spMkLst>
        </pc:spChg>
        <pc:spChg chg="mod">
          <ac:chgData name="Wagner, Mason" userId="S::maswagner@deloitte.com::f1c33596-bee1-4a78-989b-e0dcd1a9a344" providerId="AD" clId="Web-{7F14503C-A906-4A0E-8031-4FFC2D951CE1}" dt="2022-10-26T16:16:53.347" v="70" actId="1076"/>
          <ac:spMkLst>
            <pc:docMk/>
            <pc:sldMk cId="681282729" sldId="1795"/>
            <ac:spMk id="10" creationId="{C2290A8E-783C-A952-8223-175ACBB04A5A}"/>
          </ac:spMkLst>
        </pc:spChg>
        <pc:spChg chg="mod">
          <ac:chgData name="Wagner, Mason" userId="S::maswagner@deloitte.com::f1c33596-bee1-4a78-989b-e0dcd1a9a344" providerId="AD" clId="Web-{7F14503C-A906-4A0E-8031-4FFC2D951CE1}" dt="2022-10-26T16:16:48.222" v="69" actId="1076"/>
          <ac:spMkLst>
            <pc:docMk/>
            <pc:sldMk cId="681282729" sldId="1795"/>
            <ac:spMk id="14" creationId="{B427C810-7C5A-E91E-ED19-5E86BFF18D96}"/>
          </ac:spMkLst>
        </pc:spChg>
        <pc:spChg chg="mod">
          <ac:chgData name="Wagner, Mason" userId="S::maswagner@deloitte.com::f1c33596-bee1-4a78-989b-e0dcd1a9a344" providerId="AD" clId="Web-{7F14503C-A906-4A0E-8031-4FFC2D951CE1}" dt="2022-10-26T16:16:45.597" v="68" actId="1076"/>
          <ac:spMkLst>
            <pc:docMk/>
            <pc:sldMk cId="681282729" sldId="1795"/>
            <ac:spMk id="16" creationId="{FB717360-BD49-B21A-A73B-76D955CED601}"/>
          </ac:spMkLst>
        </pc:spChg>
        <pc:grpChg chg="mod">
          <ac:chgData name="Wagner, Mason" userId="S::maswagner@deloitte.com::f1c33596-bee1-4a78-989b-e0dcd1a9a344" providerId="AD" clId="Web-{7F14503C-A906-4A0E-8031-4FFC2D951CE1}" dt="2022-10-26T16:16:38.550" v="66" actId="1076"/>
          <ac:grpSpMkLst>
            <pc:docMk/>
            <pc:sldMk cId="681282729" sldId="1795"/>
            <ac:grpSpMk id="3" creationId="{0ADC112C-A4A2-D6FA-40CD-337B996D725A}"/>
          </ac:grpSpMkLst>
        </pc:grpChg>
      </pc:sldChg>
      <pc:sldChg chg="addSp delSp modSp">
        <pc:chgData name="Wagner, Mason" userId="S::maswagner@deloitte.com::f1c33596-bee1-4a78-989b-e0dcd1a9a344" providerId="AD" clId="Web-{7F14503C-A906-4A0E-8031-4FFC2D951CE1}" dt="2022-10-26T16:19:02.386" v="79" actId="14100"/>
        <pc:sldMkLst>
          <pc:docMk/>
          <pc:sldMk cId="2447309153" sldId="1796"/>
        </pc:sldMkLst>
        <pc:spChg chg="del">
          <ac:chgData name="Wagner, Mason" userId="S::maswagner@deloitte.com::f1c33596-bee1-4a78-989b-e0dcd1a9a344" providerId="AD" clId="Web-{7F14503C-A906-4A0E-8031-4FFC2D951CE1}" dt="2022-10-26T16:10:27.653" v="4"/>
          <ac:spMkLst>
            <pc:docMk/>
            <pc:sldMk cId="2447309153" sldId="1796"/>
            <ac:spMk id="5" creationId="{B2EEDA33-21E8-0E59-65F0-8C85FB4A27FD}"/>
          </ac:spMkLst>
        </pc:spChg>
        <pc:picChg chg="add del">
          <ac:chgData name="Wagner, Mason" userId="S::maswagner@deloitte.com::f1c33596-bee1-4a78-989b-e0dcd1a9a344" providerId="AD" clId="Web-{7F14503C-A906-4A0E-8031-4FFC2D951CE1}" dt="2022-10-26T16:10:32.356" v="6"/>
          <ac:picMkLst>
            <pc:docMk/>
            <pc:sldMk cId="2447309153" sldId="1796"/>
            <ac:picMk id="3" creationId="{E4EFEA14-6B35-91B7-B9BF-D7566BC16D1A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11:42.579" v="32"/>
          <ac:picMkLst>
            <pc:docMk/>
            <pc:sldMk cId="2447309153" sldId="1796"/>
            <ac:picMk id="10" creationId="{63010DB4-49BF-0E2D-C4CB-FF0FE736A8C8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9:02.386" v="79" actId="14100"/>
          <ac:picMkLst>
            <pc:docMk/>
            <pc:sldMk cId="2447309153" sldId="1796"/>
            <ac:picMk id="12" creationId="{1DA7D09F-B125-7BD1-4387-0E451122AAE7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14:16.354" v="48"/>
          <ac:picMkLst>
            <pc:docMk/>
            <pc:sldMk cId="2447309153" sldId="1796"/>
            <ac:picMk id="14" creationId="{02AC1601-43B0-41F8-FF30-D1441A6B6D76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18:04.414" v="75" actId="1076"/>
          <ac:picMkLst>
            <pc:docMk/>
            <pc:sldMk cId="2447309153" sldId="1796"/>
            <ac:picMk id="16" creationId="{192EC1AE-2B29-B9B5-309D-26D1B16448AB}"/>
          </ac:picMkLst>
        </pc:picChg>
      </pc:sldChg>
      <pc:sldChg chg="addSp delSp modSp new">
        <pc:chgData name="Wagner, Mason" userId="S::maswagner@deloitte.com::f1c33596-bee1-4a78-989b-e0dcd1a9a344" providerId="AD" clId="Web-{7F14503C-A906-4A0E-8031-4FFC2D951CE1}" dt="2022-10-26T17:23:18.908" v="881" actId="20577"/>
        <pc:sldMkLst>
          <pc:docMk/>
          <pc:sldMk cId="197330321" sldId="1797"/>
        </pc:sldMkLst>
        <pc:spChg chg="del">
          <ac:chgData name="Wagner, Mason" userId="S::maswagner@deloitte.com::f1c33596-bee1-4a78-989b-e0dcd1a9a344" providerId="AD" clId="Web-{7F14503C-A906-4A0E-8031-4FFC2D951CE1}" dt="2022-10-26T16:30:30.239" v="199"/>
          <ac:spMkLst>
            <pc:docMk/>
            <pc:sldMk cId="197330321" sldId="1797"/>
            <ac:spMk id="2" creationId="{8BCC3993-D838-F5F5-CA7A-C4721F717FB5}"/>
          </ac:spMkLst>
        </pc:spChg>
        <pc:spChg chg="del">
          <ac:chgData name="Wagner, Mason" userId="S::maswagner@deloitte.com::f1c33596-bee1-4a78-989b-e0dcd1a9a344" providerId="AD" clId="Web-{7F14503C-A906-4A0E-8031-4FFC2D951CE1}" dt="2022-10-26T16:35:30.975" v="202"/>
          <ac:spMkLst>
            <pc:docMk/>
            <pc:sldMk cId="197330321" sldId="1797"/>
            <ac:spMk id="3" creationId="{42011F4B-8F18-188D-628C-41F23376D244}"/>
          </ac:spMkLst>
        </pc:spChg>
        <pc:spChg chg="mod">
          <ac:chgData name="Wagner, Mason" userId="S::maswagner@deloitte.com::f1c33596-bee1-4a78-989b-e0dcd1a9a344" providerId="AD" clId="Web-{7F14503C-A906-4A0E-8031-4FFC2D951CE1}" dt="2022-10-26T16:40:04.241" v="595" actId="1076"/>
          <ac:spMkLst>
            <pc:docMk/>
            <pc:sldMk cId="197330321" sldId="1797"/>
            <ac:spMk id="4" creationId="{B7D0FEE9-B395-B628-6E12-91BCF66D9A6C}"/>
          </ac:spMkLst>
        </pc:spChg>
        <pc:spChg chg="del">
          <ac:chgData name="Wagner, Mason" userId="S::maswagner@deloitte.com::f1c33596-bee1-4a78-989b-e0dcd1a9a344" providerId="AD" clId="Web-{7F14503C-A906-4A0E-8031-4FFC2D951CE1}" dt="2022-10-26T16:43:01.673" v="607"/>
          <ac:spMkLst>
            <pc:docMk/>
            <pc:sldMk cId="197330321" sldId="1797"/>
            <ac:spMk id="5" creationId="{A7F9C1CA-6DC9-3153-3015-B9C8BFC95A32}"/>
          </ac:spMkLst>
        </pc:spChg>
        <pc:spChg chg="del">
          <ac:chgData name="Wagner, Mason" userId="S::maswagner@deloitte.com::f1c33596-bee1-4a78-989b-e0dcd1a9a344" providerId="AD" clId="Web-{7F14503C-A906-4A0E-8031-4FFC2D951CE1}" dt="2022-10-26T16:25:27.221" v="165"/>
          <ac:spMkLst>
            <pc:docMk/>
            <pc:sldMk cId="197330321" sldId="1797"/>
            <ac:spMk id="6" creationId="{99FD3F2A-ACDD-32F2-30FF-F88D090FD67F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18.908" v="881" actId="20577"/>
          <ac:spMkLst>
            <pc:docMk/>
            <pc:sldMk cId="197330321" sldId="1797"/>
            <ac:spMk id="7" creationId="{DE31774E-5D23-A1E6-1DB9-B5DBFA745D8E}"/>
          </ac:spMkLst>
        </pc:spChg>
        <pc:spChg chg="add mod">
          <ac:chgData name="Wagner, Mason" userId="S::maswagner@deloitte.com::f1c33596-bee1-4a78-989b-e0dcd1a9a344" providerId="AD" clId="Web-{7F14503C-A906-4A0E-8031-4FFC2D951CE1}" dt="2022-10-26T17:02:40.726" v="693" actId="1076"/>
          <ac:spMkLst>
            <pc:docMk/>
            <pc:sldMk cId="197330321" sldId="1797"/>
            <ac:spMk id="10" creationId="{184BB420-3985-A09A-7EA7-5BDC2F3C3218}"/>
          </ac:spMkLst>
        </pc:spChg>
        <pc:spChg chg="add mod ord">
          <ac:chgData name="Wagner, Mason" userId="S::maswagner@deloitte.com::f1c33596-bee1-4a78-989b-e0dcd1a9a344" providerId="AD" clId="Web-{7F14503C-A906-4A0E-8031-4FFC2D951CE1}" dt="2022-10-26T16:47:56.253" v="627"/>
          <ac:spMkLst>
            <pc:docMk/>
            <pc:sldMk cId="197330321" sldId="1797"/>
            <ac:spMk id="12" creationId="{30D5BB12-A455-E6E6-AD11-01DCB32B0AC2}"/>
          </ac:spMkLst>
        </pc:spChg>
        <pc:picChg chg="mod">
          <ac:chgData name="Wagner, Mason" userId="S::maswagner@deloitte.com::f1c33596-bee1-4a78-989b-e0dcd1a9a344" providerId="AD" clId="Web-{7F14503C-A906-4A0E-8031-4FFC2D951CE1}" dt="2022-10-26T17:02:35.288" v="692" actId="1076"/>
          <ac:picMkLst>
            <pc:docMk/>
            <pc:sldMk cId="197330321" sldId="1797"/>
            <ac:picMk id="2" creationId="{89083761-B61F-F3C8-B7DC-EEA82191B749}"/>
          </ac:picMkLst>
        </pc:picChg>
        <pc:picChg chg="del">
          <ac:chgData name="Wagner, Mason" userId="S::maswagner@deloitte.com::f1c33596-bee1-4a78-989b-e0dcd1a9a344" providerId="AD" clId="Web-{7F14503C-A906-4A0E-8031-4FFC2D951CE1}" dt="2022-10-26T16:51:48.188" v="631"/>
          <ac:picMkLst>
            <pc:docMk/>
            <pc:sldMk cId="197330321" sldId="1797"/>
            <ac:picMk id="3" creationId="{4541848A-E1F1-03B6-5BEC-5C57569F3EA6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44:05.677" v="617"/>
          <ac:picMkLst>
            <pc:docMk/>
            <pc:sldMk cId="197330321" sldId="1797"/>
            <ac:picMk id="3" creationId="{590A3AF1-B609-7300-7751-CB90306CE16A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35:06.802" v="200" actId="1076"/>
          <ac:picMkLst>
            <pc:docMk/>
            <pc:sldMk cId="197330321" sldId="1797"/>
            <ac:picMk id="9" creationId="{671D7D56-88B0-4711-5894-5B2BC0A98FB0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40:17.289" v="596"/>
          <ac:picMkLst>
            <pc:docMk/>
            <pc:sldMk cId="197330321" sldId="1797"/>
            <ac:picMk id="11" creationId="{0A303495-2525-B2E2-B93E-A528666FE0E5}"/>
          </ac:picMkLst>
        </pc:picChg>
      </pc:sldChg>
      <pc:sldChg chg="addSp delSp modSp">
        <pc:chgData name="Wagner, Mason" userId="S::maswagner@deloitte.com::f1c33596-bee1-4a78-989b-e0dcd1a9a344" providerId="AD" clId="Web-{7F14503C-A906-4A0E-8031-4FFC2D951CE1}" dt="2022-10-26T17:23:22.283" v="882" actId="20577"/>
        <pc:sldMkLst>
          <pc:docMk/>
          <pc:sldMk cId="1293087361" sldId="1798"/>
        </pc:sldMkLst>
        <pc:spChg chg="del">
          <ac:chgData name="Wagner, Mason" userId="S::maswagner@deloitte.com::f1c33596-bee1-4a78-989b-e0dcd1a9a344" providerId="AD" clId="Web-{7F14503C-A906-4A0E-8031-4FFC2D951CE1}" dt="2022-10-26T16:30:27.551" v="198"/>
          <ac:spMkLst>
            <pc:docMk/>
            <pc:sldMk cId="1293087361" sldId="1798"/>
            <ac:spMk id="2" creationId="{8BCC3993-D838-F5F5-CA7A-C4721F717FB5}"/>
          </ac:spMkLst>
        </pc:spChg>
        <pc:spChg chg="del">
          <ac:chgData name="Wagner, Mason" userId="S::maswagner@deloitte.com::f1c33596-bee1-4a78-989b-e0dcd1a9a344" providerId="AD" clId="Web-{7F14503C-A906-4A0E-8031-4FFC2D951CE1}" dt="2022-10-26T16:54:54.590" v="639"/>
          <ac:spMkLst>
            <pc:docMk/>
            <pc:sldMk cId="1293087361" sldId="1798"/>
            <ac:spMk id="3" creationId="{42011F4B-8F18-188D-628C-41F23376D244}"/>
          </ac:spMkLst>
        </pc:spChg>
        <pc:spChg chg="mod">
          <ac:chgData name="Wagner, Mason" userId="S::maswagner@deloitte.com::f1c33596-bee1-4a78-989b-e0dcd1a9a344" providerId="AD" clId="Web-{7F14503C-A906-4A0E-8031-4FFC2D951CE1}" dt="2022-10-26T16:54:47.605" v="638" actId="1076"/>
          <ac:spMkLst>
            <pc:docMk/>
            <pc:sldMk cId="1293087361" sldId="1798"/>
            <ac:spMk id="4" creationId="{B7D0FEE9-B395-B628-6E12-91BCF66D9A6C}"/>
          </ac:spMkLst>
        </pc:spChg>
        <pc:spChg chg="del">
          <ac:chgData name="Wagner, Mason" userId="S::maswagner@deloitte.com::f1c33596-bee1-4a78-989b-e0dcd1a9a344" providerId="AD" clId="Web-{7F14503C-A906-4A0E-8031-4FFC2D951CE1}" dt="2022-10-26T16:54:57.199" v="640"/>
          <ac:spMkLst>
            <pc:docMk/>
            <pc:sldMk cId="1293087361" sldId="1798"/>
            <ac:spMk id="5" creationId="{A7F9C1CA-6DC9-3153-3015-B9C8BFC95A32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22.283" v="882" actId="20577"/>
          <ac:spMkLst>
            <pc:docMk/>
            <pc:sldMk cId="1293087361" sldId="1798"/>
            <ac:spMk id="7" creationId="{DE31774E-5D23-A1E6-1DB9-B5DBFA745D8E}"/>
          </ac:spMkLst>
        </pc:spChg>
        <pc:spChg chg="mod ord">
          <ac:chgData name="Wagner, Mason" userId="S::maswagner@deloitte.com::f1c33596-bee1-4a78-989b-e0dcd1a9a344" providerId="AD" clId="Web-{7F14503C-A906-4A0E-8031-4FFC2D951CE1}" dt="2022-10-26T16:58:36.525" v="641" actId="1076"/>
          <ac:spMkLst>
            <pc:docMk/>
            <pc:sldMk cId="1293087361" sldId="1798"/>
            <ac:spMk id="9" creationId="{410EF4F8-6987-0BA8-A954-740D7430F21E}"/>
          </ac:spMkLst>
        </pc:spChg>
        <pc:spChg chg="add">
          <ac:chgData name="Wagner, Mason" userId="S::maswagner@deloitte.com::f1c33596-bee1-4a78-989b-e0dcd1a9a344" providerId="AD" clId="Web-{7F14503C-A906-4A0E-8031-4FFC2D951CE1}" dt="2022-10-26T17:02:48.977" v="694"/>
          <ac:spMkLst>
            <pc:docMk/>
            <pc:sldMk cId="1293087361" sldId="1798"/>
            <ac:spMk id="18" creationId="{2E9A66C5-9E09-8BF3-8E72-98A5A0F96290}"/>
          </ac:spMkLst>
        </pc:spChg>
        <pc:picChg chg="mod">
          <ac:chgData name="Wagner, Mason" userId="S::maswagner@deloitte.com::f1c33596-bee1-4a78-989b-e0dcd1a9a344" providerId="AD" clId="Web-{7F14503C-A906-4A0E-8031-4FFC2D951CE1}" dt="2022-10-26T17:02:23.303" v="691" actId="1076"/>
          <ac:picMkLst>
            <pc:docMk/>
            <pc:sldMk cId="1293087361" sldId="1798"/>
            <ac:picMk id="6" creationId="{690745C0-83E6-7E9F-1606-245D4CBA872F}"/>
          </ac:picMkLst>
        </pc:picChg>
        <pc:picChg chg="add mod">
          <ac:chgData name="Wagner, Mason" userId="S::maswagner@deloitte.com::f1c33596-bee1-4a78-989b-e0dcd1a9a344" providerId="AD" clId="Web-{7F14503C-A906-4A0E-8031-4FFC2D951CE1}" dt="2022-10-26T16:35:09.396" v="201" actId="1076"/>
          <ac:picMkLst>
            <pc:docMk/>
            <pc:sldMk cId="1293087361" sldId="1798"/>
            <ac:picMk id="8" creationId="{5736F0C0-696D-50F3-5C03-C1D6DE33C18D}"/>
          </ac:picMkLst>
        </pc:picChg>
        <pc:picChg chg="add del">
          <ac:chgData name="Wagner, Mason" userId="S::maswagner@deloitte.com::f1c33596-bee1-4a78-989b-e0dcd1a9a344" providerId="AD" clId="Web-{7F14503C-A906-4A0E-8031-4FFC2D951CE1}" dt="2022-10-26T16:54:41.276" v="637"/>
          <ac:picMkLst>
            <pc:docMk/>
            <pc:sldMk cId="1293087361" sldId="1798"/>
            <ac:picMk id="10" creationId="{8171F0F0-7020-7600-B11F-663C94D9F4E0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40:18.476" v="597"/>
          <ac:picMkLst>
            <pc:docMk/>
            <pc:sldMk cId="1293087361" sldId="1798"/>
            <ac:picMk id="12" creationId="{C5857B70-CCA1-7C79-E979-F14A0A9BA59A}"/>
          </ac:picMkLst>
        </pc:picChg>
      </pc:sldChg>
      <pc:sldChg chg="addSp delSp modSp ord">
        <pc:chgData name="Wagner, Mason" userId="S::maswagner@deloitte.com::f1c33596-bee1-4a78-989b-e0dcd1a9a344" providerId="AD" clId="Web-{7F14503C-A906-4A0E-8031-4FFC2D951CE1}" dt="2022-10-26T17:23:15.595" v="880" actId="20577"/>
        <pc:sldMkLst>
          <pc:docMk/>
          <pc:sldMk cId="3108468057" sldId="1799"/>
        </pc:sldMkLst>
        <pc:spChg chg="del">
          <ac:chgData name="Wagner, Mason" userId="S::maswagner@deloitte.com::f1c33596-bee1-4a78-989b-e0dcd1a9a344" providerId="AD" clId="Web-{7F14503C-A906-4A0E-8031-4FFC2D951CE1}" dt="2022-10-26T16:59:08.276" v="644"/>
          <ac:spMkLst>
            <pc:docMk/>
            <pc:sldMk cId="3108468057" sldId="1799"/>
            <ac:spMk id="3" creationId="{42011F4B-8F18-188D-628C-41F23376D244}"/>
          </ac:spMkLst>
        </pc:spChg>
        <pc:spChg chg="mod">
          <ac:chgData name="Wagner, Mason" userId="S::maswagner@deloitte.com::f1c33596-bee1-4a78-989b-e0dcd1a9a344" providerId="AD" clId="Web-{7F14503C-A906-4A0E-8031-4FFC2D951CE1}" dt="2022-10-26T16:58:46.447" v="643" actId="1076"/>
          <ac:spMkLst>
            <pc:docMk/>
            <pc:sldMk cId="3108468057" sldId="1799"/>
            <ac:spMk id="4" creationId="{B7D0FEE9-B395-B628-6E12-91BCF66D9A6C}"/>
          </ac:spMkLst>
        </pc:spChg>
        <pc:spChg chg="del">
          <ac:chgData name="Wagner, Mason" userId="S::maswagner@deloitte.com::f1c33596-bee1-4a78-989b-e0dcd1a9a344" providerId="AD" clId="Web-{7F14503C-A906-4A0E-8031-4FFC2D951CE1}" dt="2022-10-26T16:59:11.714" v="645"/>
          <ac:spMkLst>
            <pc:docMk/>
            <pc:sldMk cId="3108468057" sldId="1799"/>
            <ac:spMk id="5" creationId="{A7F9C1CA-6DC9-3153-3015-B9C8BFC95A32}"/>
          </ac:spMkLst>
        </pc:spChg>
        <pc:spChg chg="mod">
          <ac:chgData name="Wagner, Mason" userId="S::maswagner@deloitte.com::f1c33596-bee1-4a78-989b-e0dcd1a9a344" providerId="AD" clId="Web-{7F14503C-A906-4A0E-8031-4FFC2D951CE1}" dt="2022-10-26T17:23:15.595" v="880" actId="20577"/>
          <ac:spMkLst>
            <pc:docMk/>
            <pc:sldMk cId="3108468057" sldId="1799"/>
            <ac:spMk id="7" creationId="{DE31774E-5D23-A1E6-1DB9-B5DBFA745D8E}"/>
          </ac:spMkLst>
        </pc:spChg>
        <pc:spChg chg="add">
          <ac:chgData name="Wagner, Mason" userId="S::maswagner@deloitte.com::f1c33596-bee1-4a78-989b-e0dcd1a9a344" providerId="AD" clId="Web-{7F14503C-A906-4A0E-8031-4FFC2D951CE1}" dt="2022-10-26T16:58:41.587" v="642"/>
          <ac:spMkLst>
            <pc:docMk/>
            <pc:sldMk cId="3108468057" sldId="1799"/>
            <ac:spMk id="12" creationId="{E97393F9-FCDE-A56B-473E-E72D328E6ABF}"/>
          </ac:spMkLst>
        </pc:spChg>
        <pc:spChg chg="add mod">
          <ac:chgData name="Wagner, Mason" userId="S::maswagner@deloitte.com::f1c33596-bee1-4a78-989b-e0dcd1a9a344" providerId="AD" clId="Web-{7F14503C-A906-4A0E-8031-4FFC2D951CE1}" dt="2022-10-26T17:18:33.110" v="878" actId="20577"/>
          <ac:spMkLst>
            <pc:docMk/>
            <pc:sldMk cId="3108468057" sldId="1799"/>
            <ac:spMk id="14" creationId="{AF432B84-98E3-F5A9-A163-6015A94CEC4D}"/>
          </ac:spMkLst>
        </pc:spChg>
        <pc:picChg chg="add">
          <ac:chgData name="Wagner, Mason" userId="S::maswagner@deloitte.com::f1c33596-bee1-4a78-989b-e0dcd1a9a344" providerId="AD" clId="Web-{7F14503C-A906-4A0E-8031-4FFC2D951CE1}" dt="2022-10-26T16:39:18.082" v="587"/>
          <ac:picMkLst>
            <pc:docMk/>
            <pc:sldMk cId="3108468057" sldId="1799"/>
            <ac:picMk id="8" creationId="{CF82C803-F676-45D1-9DA6-7B71DF3E7C42}"/>
          </ac:picMkLst>
        </pc:picChg>
        <pc:picChg chg="add">
          <ac:chgData name="Wagner, Mason" userId="S::maswagner@deloitte.com::f1c33596-bee1-4a78-989b-e0dcd1a9a344" providerId="AD" clId="Web-{7F14503C-A906-4A0E-8031-4FFC2D951CE1}" dt="2022-10-26T16:40:19.461" v="598"/>
          <ac:picMkLst>
            <pc:docMk/>
            <pc:sldMk cId="3108468057" sldId="1799"/>
            <ac:picMk id="10" creationId="{B35F5217-D154-AD1A-6863-BC8549E3D9FB}"/>
          </ac:picMkLst>
        </pc:picChg>
        <pc:picChg chg="mod">
          <ac:chgData name="Wagner, Mason" userId="S::maswagner@deloitte.com::f1c33596-bee1-4a78-989b-e0dcd1a9a344" providerId="AD" clId="Web-{7F14503C-A906-4A0E-8031-4FFC2D951CE1}" dt="2022-10-26T17:02:16.616" v="689" actId="1076"/>
          <ac:picMkLst>
            <pc:docMk/>
            <pc:sldMk cId="3108468057" sldId="1799"/>
            <ac:picMk id="11" creationId="{D169F1E4-0EAA-B2D1-3FBD-C50FB78BD5AF}"/>
          </ac:picMkLst>
        </pc:picChg>
      </pc:sldChg>
      <pc:sldChg chg="add del replId">
        <pc:chgData name="Wagner, Mason" userId="S::maswagner@deloitte.com::f1c33596-bee1-4a78-989b-e0dcd1a9a344" providerId="AD" clId="Web-{7F14503C-A906-4A0E-8031-4FFC2D951CE1}" dt="2022-10-26T16:39:07.316" v="584"/>
        <pc:sldMkLst>
          <pc:docMk/>
          <pc:sldMk cId="956324088" sldId="1800"/>
        </pc:sldMkLst>
      </pc:sldChg>
      <pc:sldChg chg="delSp modSp new">
        <pc:chgData name="Wagner, Mason" userId="S::maswagner@deloitte.com::f1c33596-bee1-4a78-989b-e0dcd1a9a344" providerId="AD" clId="Web-{7F14503C-A906-4A0E-8031-4FFC2D951CE1}" dt="2022-10-26T17:01:52.802" v="687" actId="1076"/>
        <pc:sldMkLst>
          <pc:docMk/>
          <pc:sldMk cId="1809093023" sldId="1800"/>
        </pc:sldMkLst>
        <pc:spChg chg="del">
          <ac:chgData name="Wagner, Mason" userId="S::maswagner@deloitte.com::f1c33596-bee1-4a78-989b-e0dcd1a9a344" providerId="AD" clId="Web-{7F14503C-A906-4A0E-8031-4FFC2D951CE1}" dt="2022-10-26T16:59:44.716" v="668"/>
          <ac:spMkLst>
            <pc:docMk/>
            <pc:sldMk cId="1809093023" sldId="1800"/>
            <ac:spMk id="2" creationId="{713C6B32-2D5A-F776-0613-9AA382FEC75D}"/>
          </ac:spMkLst>
        </pc:spChg>
        <pc:spChg chg="mod">
          <ac:chgData name="Wagner, Mason" userId="S::maswagner@deloitte.com::f1c33596-bee1-4a78-989b-e0dcd1a9a344" providerId="AD" clId="Web-{7F14503C-A906-4A0E-8031-4FFC2D951CE1}" dt="2022-10-26T17:01:52.802" v="687" actId="1076"/>
          <ac:spMkLst>
            <pc:docMk/>
            <pc:sldMk cId="1809093023" sldId="1800"/>
            <ac:spMk id="3" creationId="{ACCB6501-7E75-3FFB-2F7A-7BCA8C920794}"/>
          </ac:spMkLst>
        </pc:spChg>
        <pc:spChg chg="del mod">
          <ac:chgData name="Wagner, Mason" userId="S::maswagner@deloitte.com::f1c33596-bee1-4a78-989b-e0dcd1a9a344" providerId="AD" clId="Web-{7F14503C-A906-4A0E-8031-4FFC2D951CE1}" dt="2022-10-26T17:01:28.660" v="682"/>
          <ac:spMkLst>
            <pc:docMk/>
            <pc:sldMk cId="1809093023" sldId="1800"/>
            <ac:spMk id="4" creationId="{65EF1B3B-B8F0-3A52-2C77-02F1013B46A8}"/>
          </ac:spMkLst>
        </pc:spChg>
      </pc:sldChg>
      <pc:sldChg chg="add del replId">
        <pc:chgData name="Wagner, Mason" userId="S::maswagner@deloitte.com::f1c33596-bee1-4a78-989b-e0dcd1a9a344" providerId="AD" clId="Web-{7F14503C-A906-4A0E-8031-4FFC2D951CE1}" dt="2022-10-26T16:39:14.035" v="586"/>
        <pc:sldMkLst>
          <pc:docMk/>
          <pc:sldMk cId="2268486180" sldId="1800"/>
        </pc:sldMkLst>
      </pc:sldChg>
      <pc:sldChg chg="delSp modSp">
        <pc:chgData name="Wagner, Mason" userId="S::maswagner@deloitte.com::f1c33596-bee1-4a78-989b-e0dcd1a9a344" providerId="AD" clId="Web-{7F14503C-A906-4A0E-8031-4FFC2D951CE1}" dt="2022-10-26T17:57:40.554" v="1391"/>
        <pc:sldMkLst>
          <pc:docMk/>
          <pc:sldMk cId="3372800696" sldId="1801"/>
        </pc:sldMkLst>
        <pc:picChg chg="mod">
          <ac:chgData name="Wagner, Mason" userId="S::maswagner@deloitte.com::f1c33596-bee1-4a78-989b-e0dcd1a9a344" providerId="AD" clId="Web-{7F14503C-A906-4A0E-8031-4FFC2D951CE1}" dt="2022-10-26T17:57:32.022" v="1390" actId="1076"/>
          <ac:picMkLst>
            <pc:docMk/>
            <pc:sldMk cId="3372800696" sldId="1801"/>
            <ac:picMk id="9" creationId="{E2EACF58-D5AB-254A-19C1-8A330819F649}"/>
          </ac:picMkLst>
        </pc:picChg>
        <pc:picChg chg="del">
          <ac:chgData name="Wagner, Mason" userId="S::maswagner@deloitte.com::f1c33596-bee1-4a78-989b-e0dcd1a9a344" providerId="AD" clId="Web-{7F14503C-A906-4A0E-8031-4FFC2D951CE1}" dt="2022-10-26T17:57:40.554" v="1391"/>
          <ac:picMkLst>
            <pc:docMk/>
            <pc:sldMk cId="3372800696" sldId="1801"/>
            <ac:picMk id="10" creationId="{B35F5217-D154-AD1A-6863-BC8549E3D9FB}"/>
          </ac:picMkLst>
        </pc:picChg>
      </pc:sldChg>
    </pc:docChg>
  </pc:docChgLst>
  <pc:docChgLst>
    <pc:chgData name="Saracho Sandin, Luis Fernando" userId="S::lsarachosandin@deloitte.com::64c9d1a7-aa51-4f26-9333-1a205a883043" providerId="AD" clId="Web-{931907E7-CB87-4ADD-8E54-54B5A653FCF4}"/>
    <pc:docChg chg="addSld delSld modSld">
      <pc:chgData name="Saracho Sandin, Luis Fernando" userId="S::lsarachosandin@deloitte.com::64c9d1a7-aa51-4f26-9333-1a205a883043" providerId="AD" clId="Web-{931907E7-CB87-4ADD-8E54-54B5A653FCF4}" dt="2022-10-26T17:21:53.690" v="337" actId="1076"/>
      <pc:docMkLst>
        <pc:docMk/>
      </pc:docMkLst>
      <pc:sldChg chg="addSp delSp modSp">
        <pc:chgData name="Saracho Sandin, Luis Fernando" userId="S::lsarachosandin@deloitte.com::64c9d1a7-aa51-4f26-9333-1a205a883043" providerId="AD" clId="Web-{931907E7-CB87-4ADD-8E54-54B5A653FCF4}" dt="2022-10-26T17:21:53.690" v="337" actId="1076"/>
        <pc:sldMkLst>
          <pc:docMk/>
          <pc:sldMk cId="1225603327" sldId="457"/>
        </pc:sldMkLst>
        <pc:spChg chg="add mod">
          <ac:chgData name="Saracho Sandin, Luis Fernando" userId="S::lsarachosandin@deloitte.com::64c9d1a7-aa51-4f26-9333-1a205a883043" providerId="AD" clId="Web-{931907E7-CB87-4ADD-8E54-54B5A653FCF4}" dt="2022-10-26T17:21:53.627" v="329" actId="1076"/>
          <ac:spMkLst>
            <pc:docMk/>
            <pc:sldMk cId="1225603327" sldId="457"/>
            <ac:spMk id="2" creationId="{A7882C1E-3F46-B21B-670C-CA43D5815F8F}"/>
          </ac:spMkLst>
        </pc:spChg>
        <pc:spChg chg="add mod">
          <ac:chgData name="Saracho Sandin, Luis Fernando" userId="S::lsarachosandin@deloitte.com::64c9d1a7-aa51-4f26-9333-1a205a883043" providerId="AD" clId="Web-{931907E7-CB87-4ADD-8E54-54B5A653FCF4}" dt="2022-10-26T17:21:53.627" v="330" actId="1076"/>
          <ac:spMkLst>
            <pc:docMk/>
            <pc:sldMk cId="1225603327" sldId="457"/>
            <ac:spMk id="5" creationId="{03B7C34D-E025-01B9-84EC-4FAA7FBD4587}"/>
          </ac:spMkLst>
        </pc:spChg>
        <pc:spChg chg="add mod">
          <ac:chgData name="Saracho Sandin, Luis Fernando" userId="S::lsarachosandin@deloitte.com::64c9d1a7-aa51-4f26-9333-1a205a883043" providerId="AD" clId="Web-{931907E7-CB87-4ADD-8E54-54B5A653FCF4}" dt="2022-10-26T17:21:53.643" v="331" actId="1076"/>
          <ac:spMkLst>
            <pc:docMk/>
            <pc:sldMk cId="1225603327" sldId="457"/>
            <ac:spMk id="7" creationId="{4EBD752C-3B6D-23A1-DBB7-C362B79B6CB6}"/>
          </ac:spMkLst>
        </pc:spChg>
        <pc:spChg chg="add del mod">
          <ac:chgData name="Saracho Sandin, Luis Fernando" userId="S::lsarachosandin@deloitte.com::64c9d1a7-aa51-4f26-9333-1a205a883043" providerId="AD" clId="Web-{931907E7-CB87-4ADD-8E54-54B5A653FCF4}" dt="2022-10-26T16:24:50.492" v="80"/>
          <ac:spMkLst>
            <pc:docMk/>
            <pc:sldMk cId="1225603327" sldId="457"/>
            <ac:spMk id="14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21:53.581" v="325" actId="1076"/>
          <ac:spMkLst>
            <pc:docMk/>
            <pc:sldMk cId="1225603327" sldId="457"/>
            <ac:spMk id="15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21:53.596" v="326" actId="1076"/>
          <ac:spMkLst>
            <pc:docMk/>
            <pc:sldMk cId="1225603327" sldId="457"/>
            <ac:spMk id="16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21:53.612" v="327" actId="1076"/>
          <ac:spMkLst>
            <pc:docMk/>
            <pc:sldMk cId="1225603327" sldId="457"/>
            <ac:spMk id="17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21:53.612" v="328" actId="1076"/>
          <ac:spMkLst>
            <pc:docMk/>
            <pc:sldMk cId="1225603327" sldId="457"/>
            <ac:spMk id="19" creationId="{00000000-0000-0000-0000-000000000000}"/>
          </ac:spMkLst>
        </pc:spChg>
        <pc:picChg chg="add del mod">
          <ac:chgData name="Saracho Sandin, Luis Fernando" userId="S::lsarachosandin@deloitte.com::64c9d1a7-aa51-4f26-9333-1a205a883043" providerId="AD" clId="Web-{931907E7-CB87-4ADD-8E54-54B5A653FCF4}" dt="2022-10-26T17:11:50.950" v="311"/>
          <ac:picMkLst>
            <pc:docMk/>
            <pc:sldMk cId="1225603327" sldId="457"/>
            <ac:picMk id="4" creationId="{8913D463-3852-F202-48C2-06B50312C8F6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7:04:50.139" v="299"/>
          <ac:picMkLst>
            <pc:docMk/>
            <pc:sldMk cId="1225603327" sldId="457"/>
            <ac:picMk id="9" creationId="{FDD4FFF9-389F-A29B-C601-6F78DC5D55AA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7:06:45.799" v="304"/>
          <ac:picMkLst>
            <pc:docMk/>
            <pc:sldMk cId="1225603327" sldId="457"/>
            <ac:picMk id="11" creationId="{315E08F4-2B27-1E05-A82F-FA0A873138E5}"/>
          </ac:picMkLst>
        </pc:picChg>
        <pc:picChg chg="mod">
          <ac:chgData name="Saracho Sandin, Luis Fernando" userId="S::lsarachosandin@deloitte.com::64c9d1a7-aa51-4f26-9333-1a205a883043" providerId="AD" clId="Web-{931907E7-CB87-4ADD-8E54-54B5A653FCF4}" dt="2022-10-26T17:21:53.643" v="332" actId="1076"/>
          <ac:picMkLst>
            <pc:docMk/>
            <pc:sldMk cId="1225603327" sldId="457"/>
            <ac:picMk id="12" creationId="{B6743DCB-F8F7-01AE-BDD8-F85207D09A5A}"/>
          </ac:picMkLst>
        </pc:picChg>
        <pc:picChg chg="mod">
          <ac:chgData name="Saracho Sandin, Luis Fernando" userId="S::lsarachosandin@deloitte.com::64c9d1a7-aa51-4f26-9333-1a205a883043" providerId="AD" clId="Web-{931907E7-CB87-4ADD-8E54-54B5A653FCF4}" dt="2022-10-26T17:21:53.659" v="333" actId="1076"/>
          <ac:picMkLst>
            <pc:docMk/>
            <pc:sldMk cId="1225603327" sldId="457"/>
            <ac:picMk id="21" creationId="{6C89954F-4CC6-F113-4950-ACB90AB8EF36}"/>
          </ac:picMkLst>
        </pc:picChg>
        <pc:picChg chg="mod">
          <ac:chgData name="Saracho Sandin, Luis Fernando" userId="S::lsarachosandin@deloitte.com::64c9d1a7-aa51-4f26-9333-1a205a883043" providerId="AD" clId="Web-{931907E7-CB87-4ADD-8E54-54B5A653FCF4}" dt="2022-10-26T17:21:53.659" v="334" actId="1076"/>
          <ac:picMkLst>
            <pc:docMk/>
            <pc:sldMk cId="1225603327" sldId="457"/>
            <ac:picMk id="23" creationId="{412F94FC-7CBD-D763-54EA-A6455B85A460}"/>
          </ac:picMkLst>
        </pc:picChg>
        <pc:inkChg chg="add del">
          <ac:chgData name="Saracho Sandin, Luis Fernando" userId="S::lsarachosandin@deloitte.com::64c9d1a7-aa51-4f26-9333-1a205a883043" providerId="AD" clId="Web-{931907E7-CB87-4ADD-8E54-54B5A653FCF4}" dt="2022-10-26T17:14:26.987" v="324"/>
          <ac:inkMkLst>
            <pc:docMk/>
            <pc:sldMk cId="1225603327" sldId="457"/>
            <ac:inkMk id="4" creationId="{57D9732F-ACE5-29D0-4F66-F8A999CC670C}"/>
          </ac:inkMkLst>
        </pc:inkChg>
        <pc:inkChg chg="add del">
          <ac:chgData name="Saracho Sandin, Luis Fernando" userId="S::lsarachosandin@deloitte.com::64c9d1a7-aa51-4f26-9333-1a205a883043" providerId="AD" clId="Web-{931907E7-CB87-4ADD-8E54-54B5A653FCF4}" dt="2022-10-26T17:14:26.987" v="323"/>
          <ac:inkMkLst>
            <pc:docMk/>
            <pc:sldMk cId="1225603327" sldId="457"/>
            <ac:inkMk id="9" creationId="{E0174751-70E3-352C-FAA1-85160BE1C837}"/>
          </ac:inkMkLst>
        </pc:inkChg>
        <pc:inkChg chg="add del">
          <ac:chgData name="Saracho Sandin, Luis Fernando" userId="S::lsarachosandin@deloitte.com::64c9d1a7-aa51-4f26-9333-1a205a883043" providerId="AD" clId="Web-{931907E7-CB87-4ADD-8E54-54B5A653FCF4}" dt="2022-10-26T17:14:26.987" v="322"/>
          <ac:inkMkLst>
            <pc:docMk/>
            <pc:sldMk cId="1225603327" sldId="457"/>
            <ac:inkMk id="11" creationId="{E3D8A009-E5E1-1B6B-34FA-F9F131DA1B71}"/>
          </ac:inkMkLst>
        </pc:inkChg>
        <pc:inkChg chg="add del">
          <ac:chgData name="Saracho Sandin, Luis Fernando" userId="S::lsarachosandin@deloitte.com::64c9d1a7-aa51-4f26-9333-1a205a883043" providerId="AD" clId="Web-{931907E7-CB87-4ADD-8E54-54B5A653FCF4}" dt="2022-10-26T17:14:26.987" v="321"/>
          <ac:inkMkLst>
            <pc:docMk/>
            <pc:sldMk cId="1225603327" sldId="457"/>
            <ac:inkMk id="13" creationId="{8BBAF9C5-44F5-F9AB-9DFE-861E053BF0CF}"/>
          </ac:inkMkLst>
        </pc:inkChg>
        <pc:inkChg chg="add del">
          <ac:chgData name="Saracho Sandin, Luis Fernando" userId="S::lsarachosandin@deloitte.com::64c9d1a7-aa51-4f26-9333-1a205a883043" providerId="AD" clId="Web-{931907E7-CB87-4ADD-8E54-54B5A653FCF4}" dt="2022-10-26T17:14:26.971" v="320"/>
          <ac:inkMkLst>
            <pc:docMk/>
            <pc:sldMk cId="1225603327" sldId="457"/>
            <ac:inkMk id="14" creationId="{EA70EA2E-99EF-9AEA-B25F-DD57CF0A6AB1}"/>
          </ac:inkMkLst>
        </pc:inkChg>
        <pc:inkChg chg="add del">
          <ac:chgData name="Saracho Sandin, Luis Fernando" userId="S::lsarachosandin@deloitte.com::64c9d1a7-aa51-4f26-9333-1a205a883043" providerId="AD" clId="Web-{931907E7-CB87-4ADD-8E54-54B5A653FCF4}" dt="2022-10-26T17:14:26.971" v="319"/>
          <ac:inkMkLst>
            <pc:docMk/>
            <pc:sldMk cId="1225603327" sldId="457"/>
            <ac:inkMk id="18" creationId="{5F8808BD-0C58-36C1-3CA8-E6B8BD2CBA8E}"/>
          </ac:inkMkLst>
        </pc:inkChg>
        <pc:cxnChg chg="mod">
          <ac:chgData name="Saracho Sandin, Luis Fernando" userId="S::lsarachosandin@deloitte.com::64c9d1a7-aa51-4f26-9333-1a205a883043" providerId="AD" clId="Web-{931907E7-CB87-4ADD-8E54-54B5A653FCF4}" dt="2022-10-26T17:13:45.001" v="312" actId="1076"/>
          <ac:cxnSpMkLst>
            <pc:docMk/>
            <pc:sldMk cId="1225603327" sldId="457"/>
            <ac:cxnSpMk id="28" creationId="{2479D686-8952-C805-4B19-C18C33ECF4CA}"/>
          </ac:cxnSpMkLst>
        </pc:cxnChg>
        <pc:cxnChg chg="mod">
          <ac:chgData name="Saracho Sandin, Luis Fernando" userId="S::lsarachosandin@deloitte.com::64c9d1a7-aa51-4f26-9333-1a205a883043" providerId="AD" clId="Web-{931907E7-CB87-4ADD-8E54-54B5A653FCF4}" dt="2022-10-26T17:21:53.674" v="335" actId="1076"/>
          <ac:cxnSpMkLst>
            <pc:docMk/>
            <pc:sldMk cId="1225603327" sldId="457"/>
            <ac:cxnSpMk id="29" creationId="{6F9ACA37-DA04-A97C-88BB-6968225A4279}"/>
          </ac:cxnSpMkLst>
        </pc:cxnChg>
        <pc:cxnChg chg="mod">
          <ac:chgData name="Saracho Sandin, Luis Fernando" userId="S::lsarachosandin@deloitte.com::64c9d1a7-aa51-4f26-9333-1a205a883043" providerId="AD" clId="Web-{931907E7-CB87-4ADD-8E54-54B5A653FCF4}" dt="2022-10-26T17:21:53.674" v="336" actId="1076"/>
          <ac:cxnSpMkLst>
            <pc:docMk/>
            <pc:sldMk cId="1225603327" sldId="457"/>
            <ac:cxnSpMk id="30" creationId="{83F49D59-2DEA-86B8-A84E-47F7AD97701F}"/>
          </ac:cxnSpMkLst>
        </pc:cxnChg>
        <pc:cxnChg chg="mod">
          <ac:chgData name="Saracho Sandin, Luis Fernando" userId="S::lsarachosandin@deloitte.com::64c9d1a7-aa51-4f26-9333-1a205a883043" providerId="AD" clId="Web-{931907E7-CB87-4ADD-8E54-54B5A653FCF4}" dt="2022-10-26T17:21:53.690" v="337" actId="1076"/>
          <ac:cxnSpMkLst>
            <pc:docMk/>
            <pc:sldMk cId="1225603327" sldId="457"/>
            <ac:cxnSpMk id="31" creationId="{49043D56-A589-6A2B-87CB-A940B1E14CC0}"/>
          </ac:cxnSpMkLst>
        </pc:cxnChg>
      </pc:sldChg>
      <pc:sldChg chg="del">
        <pc:chgData name="Saracho Sandin, Luis Fernando" userId="S::lsarachosandin@deloitte.com::64c9d1a7-aa51-4f26-9333-1a205a883043" providerId="AD" clId="Web-{931907E7-CB87-4ADD-8E54-54B5A653FCF4}" dt="2022-10-26T16:27:51.155" v="85"/>
        <pc:sldMkLst>
          <pc:docMk/>
          <pc:sldMk cId="230052633" sldId="514"/>
        </pc:sldMkLst>
      </pc:sldChg>
      <pc:sldChg chg="addSp delSp">
        <pc:chgData name="Saracho Sandin, Luis Fernando" userId="S::lsarachosandin@deloitte.com::64c9d1a7-aa51-4f26-9333-1a205a883043" providerId="AD" clId="Web-{931907E7-CB87-4ADD-8E54-54B5A653FCF4}" dt="2022-10-26T16:10:39.681" v="11"/>
        <pc:sldMkLst>
          <pc:docMk/>
          <pc:sldMk cId="1355440607" sldId="669"/>
        </pc:sldMkLst>
        <pc:picChg chg="add del">
          <ac:chgData name="Saracho Sandin, Luis Fernando" userId="S::lsarachosandin@deloitte.com::64c9d1a7-aa51-4f26-9333-1a205a883043" providerId="AD" clId="Web-{931907E7-CB87-4ADD-8E54-54B5A653FCF4}" dt="2022-10-26T16:10:39.681" v="11"/>
          <ac:picMkLst>
            <pc:docMk/>
            <pc:sldMk cId="1355440607" sldId="669"/>
            <ac:picMk id="4" creationId="{FD765797-95AB-4F75-90DB-B650AF86E698}"/>
          </ac:picMkLst>
        </pc:picChg>
      </pc:sldChg>
      <pc:sldChg chg="addSp delSp modSp">
        <pc:chgData name="Saracho Sandin, Luis Fernando" userId="S::lsarachosandin@deloitte.com::64c9d1a7-aa51-4f26-9333-1a205a883043" providerId="AD" clId="Web-{931907E7-CB87-4ADD-8E54-54B5A653FCF4}" dt="2022-10-26T16:37:22.253" v="224" actId="20577"/>
        <pc:sldMkLst>
          <pc:docMk/>
          <pc:sldMk cId="3801425194" sldId="719"/>
        </pc:sldMkLst>
        <pc:spChg chg="add del mod">
          <ac:chgData name="Saracho Sandin, Luis Fernando" userId="S::lsarachosandin@deloitte.com::64c9d1a7-aa51-4f26-9333-1a205a883043" providerId="AD" clId="Web-{931907E7-CB87-4ADD-8E54-54B5A653FCF4}" dt="2022-10-26T16:35:48.140" v="133"/>
          <ac:spMkLst>
            <pc:docMk/>
            <pc:sldMk cId="3801425194" sldId="719"/>
            <ac:spMk id="4" creationId="{D3E6FCA6-8196-3D73-49E6-96F83E33A6EC}"/>
          </ac:spMkLst>
        </pc:spChg>
        <pc:spChg chg="del mod">
          <ac:chgData name="Saracho Sandin, Luis Fernando" userId="S::lsarachosandin@deloitte.com::64c9d1a7-aa51-4f26-9333-1a205a883043" providerId="AD" clId="Web-{931907E7-CB87-4ADD-8E54-54B5A653FCF4}" dt="2022-10-26T16:35:42.718" v="131"/>
          <ac:spMkLst>
            <pc:docMk/>
            <pc:sldMk cId="3801425194" sldId="719"/>
            <ac:spMk id="9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08" v="185" actId="1076"/>
          <ac:spMkLst>
            <pc:docMk/>
            <pc:sldMk cId="3801425194" sldId="719"/>
            <ac:spMk id="127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23" v="186" actId="1076"/>
          <ac:spMkLst>
            <pc:docMk/>
            <pc:sldMk cId="3801425194" sldId="719"/>
            <ac:spMk id="128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39" v="187" actId="1076"/>
          <ac:spMkLst>
            <pc:docMk/>
            <pc:sldMk cId="3801425194" sldId="719"/>
            <ac:spMk id="129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54" v="188" actId="1076"/>
          <ac:spMkLst>
            <pc:docMk/>
            <pc:sldMk cId="3801425194" sldId="719"/>
            <ac:spMk id="130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70" v="189" actId="1076"/>
          <ac:spMkLst>
            <pc:docMk/>
            <pc:sldMk cId="3801425194" sldId="719"/>
            <ac:spMk id="131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39.986" v="190" actId="1076"/>
          <ac:spMkLst>
            <pc:docMk/>
            <pc:sldMk cId="3801425194" sldId="719"/>
            <ac:spMk id="132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01" v="191" actId="1076"/>
          <ac:spMkLst>
            <pc:docMk/>
            <pc:sldMk cId="3801425194" sldId="719"/>
            <ac:spMk id="133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17" v="192" actId="1076"/>
          <ac:spMkLst>
            <pc:docMk/>
            <pc:sldMk cId="3801425194" sldId="719"/>
            <ac:spMk id="134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33" v="193" actId="1076"/>
          <ac:spMkLst>
            <pc:docMk/>
            <pc:sldMk cId="3801425194" sldId="719"/>
            <ac:spMk id="135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48" v="194" actId="1076"/>
          <ac:spMkLst>
            <pc:docMk/>
            <pc:sldMk cId="3801425194" sldId="719"/>
            <ac:spMk id="136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64" v="195" actId="1076"/>
          <ac:spMkLst>
            <pc:docMk/>
            <pc:sldMk cId="3801425194" sldId="719"/>
            <ac:spMk id="137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79" v="196" actId="1076"/>
          <ac:spMkLst>
            <pc:docMk/>
            <pc:sldMk cId="3801425194" sldId="719"/>
            <ac:spMk id="138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095" v="197" actId="1076"/>
          <ac:spMkLst>
            <pc:docMk/>
            <pc:sldMk cId="3801425194" sldId="719"/>
            <ac:spMk id="139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111" v="198" actId="1076"/>
          <ac:spMkLst>
            <pc:docMk/>
            <pc:sldMk cId="3801425194" sldId="719"/>
            <ac:spMk id="140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142" v="199" actId="1076"/>
          <ac:spMkLst>
            <pc:docMk/>
            <pc:sldMk cId="3801425194" sldId="719"/>
            <ac:spMk id="141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158" v="200" actId="1076"/>
          <ac:spMkLst>
            <pc:docMk/>
            <pc:sldMk cId="3801425194" sldId="719"/>
            <ac:spMk id="142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173" v="201" actId="1076"/>
          <ac:spMkLst>
            <pc:docMk/>
            <pc:sldMk cId="3801425194" sldId="719"/>
            <ac:spMk id="143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189" v="202" actId="1076"/>
          <ac:spMkLst>
            <pc:docMk/>
            <pc:sldMk cId="3801425194" sldId="719"/>
            <ac:spMk id="144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204" v="203" actId="1076"/>
          <ac:spMkLst>
            <pc:docMk/>
            <pc:sldMk cId="3801425194" sldId="719"/>
            <ac:spMk id="145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40.220" v="204" actId="1076"/>
          <ac:spMkLst>
            <pc:docMk/>
            <pc:sldMk cId="3801425194" sldId="719"/>
            <ac:spMk id="146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7:07.315" v="211" actId="20577"/>
          <ac:spMkLst>
            <pc:docMk/>
            <pc:sldMk cId="3801425194" sldId="719"/>
            <ac:spMk id="147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7:10.409" v="213" actId="20577"/>
          <ac:spMkLst>
            <pc:docMk/>
            <pc:sldMk cId="3801425194" sldId="719"/>
            <ac:spMk id="148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7:15.643" v="220" actId="20577"/>
          <ac:spMkLst>
            <pc:docMk/>
            <pc:sldMk cId="3801425194" sldId="719"/>
            <ac:spMk id="149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7:18.753" v="222" actId="20577"/>
          <ac:spMkLst>
            <pc:docMk/>
            <pc:sldMk cId="3801425194" sldId="719"/>
            <ac:spMk id="150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7:22.253" v="224" actId="20577"/>
          <ac:spMkLst>
            <pc:docMk/>
            <pc:sldMk cId="3801425194" sldId="719"/>
            <ac:spMk id="151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6:07.469" v="140" actId="20577"/>
          <ac:spMkLst>
            <pc:docMk/>
            <pc:sldMk cId="3801425194" sldId="719"/>
            <ac:spMk id="371719" creationId="{00000000-0000-0000-0000-000000000000}"/>
          </ac:spMkLst>
        </pc:spChg>
      </pc:sldChg>
      <pc:sldChg chg="addSp delSp modSp">
        <pc:chgData name="Saracho Sandin, Luis Fernando" userId="S::lsarachosandin@deloitte.com::64c9d1a7-aa51-4f26-9333-1a205a883043" providerId="AD" clId="Web-{931907E7-CB87-4ADD-8E54-54B5A653FCF4}" dt="2022-10-26T16:15:52.786" v="24"/>
        <pc:sldMkLst>
          <pc:docMk/>
          <pc:sldMk cId="3102866459" sldId="779"/>
        </pc:sldMkLst>
        <pc:picChg chg="add mod">
          <ac:chgData name="Saracho Sandin, Luis Fernando" userId="S::lsarachosandin@deloitte.com::64c9d1a7-aa51-4f26-9333-1a205a883043" providerId="AD" clId="Web-{931907E7-CB87-4ADD-8E54-54B5A653FCF4}" dt="2022-10-26T16:09:41.836" v="2" actId="1076"/>
          <ac:picMkLst>
            <pc:docMk/>
            <pc:sldMk cId="3102866459" sldId="779"/>
            <ac:picMk id="2" creationId="{17DD1176-1DC7-E3EE-BFE3-1C3A5B2ADA8C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15:52.786" v="24"/>
          <ac:picMkLst>
            <pc:docMk/>
            <pc:sldMk cId="3102866459" sldId="779"/>
            <ac:picMk id="10" creationId="{C1463CA2-384F-B646-53C3-4FF1D56B7021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15:51.442" v="23"/>
          <ac:picMkLst>
            <pc:docMk/>
            <pc:sldMk cId="3102866459" sldId="779"/>
            <ac:picMk id="12" creationId="{76D7B585-D8C2-A031-BB0B-9DB268CA25B7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15:48.239" v="21"/>
          <ac:picMkLst>
            <pc:docMk/>
            <pc:sldMk cId="3102866459" sldId="779"/>
            <ac:picMk id="14" creationId="{40005057-F36A-33BC-8AFE-526EA8F3968E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15:49.958" v="22"/>
          <ac:picMkLst>
            <pc:docMk/>
            <pc:sldMk cId="3102866459" sldId="779"/>
            <ac:picMk id="16" creationId="{393C30F2-B206-6CA0-85F5-4D34F619B872}"/>
          </ac:picMkLst>
        </pc:picChg>
      </pc:sldChg>
      <pc:sldChg chg="addSp delSp modSp">
        <pc:chgData name="Saracho Sandin, Luis Fernando" userId="S::lsarachosandin@deloitte.com::64c9d1a7-aa51-4f26-9333-1a205a883043" providerId="AD" clId="Web-{931907E7-CB87-4ADD-8E54-54B5A653FCF4}" dt="2022-10-26T16:16:49.335" v="25"/>
        <pc:sldMkLst>
          <pc:docMk/>
          <pc:sldMk cId="816324306" sldId="1790"/>
        </pc:sldMkLst>
        <pc:spChg chg="add mod">
          <ac:chgData name="Saracho Sandin, Luis Fernando" userId="S::lsarachosandin@deloitte.com::64c9d1a7-aa51-4f26-9333-1a205a883043" providerId="AD" clId="Web-{931907E7-CB87-4ADD-8E54-54B5A653FCF4}" dt="2022-10-26T16:16:49.335" v="25"/>
          <ac:spMkLst>
            <pc:docMk/>
            <pc:sldMk cId="816324306" sldId="1790"/>
            <ac:spMk id="3" creationId="{61527056-865F-4ED8-A6B1-6765D9F4A3C3}"/>
          </ac:spMkLst>
        </pc:spChg>
        <pc:spChg chg="del">
          <ac:chgData name="Saracho Sandin, Luis Fernando" userId="S::lsarachosandin@deloitte.com::64c9d1a7-aa51-4f26-9333-1a205a883043" providerId="AD" clId="Web-{931907E7-CB87-4ADD-8E54-54B5A653FCF4}" dt="2022-10-26T16:16:49.335" v="25"/>
          <ac:spMkLst>
            <pc:docMk/>
            <pc:sldMk cId="816324306" sldId="1790"/>
            <ac:spMk id="5" creationId="{5B17207E-7FD3-4B75-ADFE-CC565F8DB8A1}"/>
          </ac:spMkLst>
        </pc:spChg>
      </pc:sldChg>
      <pc:sldChg chg="del">
        <pc:chgData name="Saracho Sandin, Luis Fernando" userId="S::lsarachosandin@deloitte.com::64c9d1a7-aa51-4f26-9333-1a205a883043" providerId="AD" clId="Web-{931907E7-CB87-4ADD-8E54-54B5A653FCF4}" dt="2022-10-26T16:34:59.373" v="107"/>
        <pc:sldMkLst>
          <pc:docMk/>
          <pc:sldMk cId="1832683842" sldId="1794"/>
        </pc:sldMkLst>
      </pc:sldChg>
      <pc:sldChg chg="addSp delSp modSp">
        <pc:chgData name="Saracho Sandin, Luis Fernando" userId="S::lsarachosandin@deloitte.com::64c9d1a7-aa51-4f26-9333-1a205a883043" providerId="AD" clId="Web-{931907E7-CB87-4ADD-8E54-54B5A653FCF4}" dt="2022-10-26T16:10:20.806" v="9"/>
        <pc:sldMkLst>
          <pc:docMk/>
          <pc:sldMk cId="681282729" sldId="1795"/>
        </pc:sldMkLst>
        <pc:picChg chg="add del mod">
          <ac:chgData name="Saracho Sandin, Luis Fernando" userId="S::lsarachosandin@deloitte.com::64c9d1a7-aa51-4f26-9333-1a205a883043" providerId="AD" clId="Web-{931907E7-CB87-4ADD-8E54-54B5A653FCF4}" dt="2022-10-26T16:10:20.806" v="9"/>
          <ac:picMkLst>
            <pc:docMk/>
            <pc:sldMk cId="681282729" sldId="1795"/>
            <ac:picMk id="18" creationId="{84A630EB-2885-1B02-C781-B96A3AEF13DB}"/>
          </ac:picMkLst>
        </pc:picChg>
      </pc:sldChg>
      <pc:sldChg chg="addSp delSp modSp">
        <pc:chgData name="Saracho Sandin, Luis Fernando" userId="S::lsarachosandin@deloitte.com::64c9d1a7-aa51-4f26-9333-1a205a883043" providerId="AD" clId="Web-{931907E7-CB87-4ADD-8E54-54B5A653FCF4}" dt="2022-10-26T17:02:55.978" v="296" actId="1076"/>
        <pc:sldMkLst>
          <pc:docMk/>
          <pc:sldMk cId="197330321" sldId="1797"/>
        </pc:sldMkLst>
        <pc:spChg chg="mod">
          <ac:chgData name="Saracho Sandin, Luis Fernando" userId="S::lsarachosandin@deloitte.com::64c9d1a7-aa51-4f26-9333-1a205a883043" providerId="AD" clId="Web-{931907E7-CB87-4ADD-8E54-54B5A653FCF4}" dt="2022-10-26T16:32:52.931" v="99"/>
          <ac:spMkLst>
            <pc:docMk/>
            <pc:sldMk cId="197330321" sldId="1797"/>
            <ac:spMk id="3" creationId="{42011F4B-8F18-188D-628C-41F23376D244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34:04.011" v="106"/>
          <ac:spMkLst>
            <pc:docMk/>
            <pc:sldMk cId="197330321" sldId="1797"/>
            <ac:spMk id="4" creationId="{B7D0FEE9-B395-B628-6E12-91BCF66D9A6C}"/>
          </ac:spMkLst>
        </pc:spChg>
        <pc:spChg chg="add del mod">
          <ac:chgData name="Saracho Sandin, Luis Fernando" userId="S::lsarachosandin@deloitte.com::64c9d1a7-aa51-4f26-9333-1a205a883043" providerId="AD" clId="Web-{931907E7-CB87-4ADD-8E54-54B5A653FCF4}" dt="2022-10-26T16:39:20.194" v="234"/>
          <ac:spMkLst>
            <pc:docMk/>
            <pc:sldMk cId="197330321" sldId="1797"/>
            <ac:spMk id="8" creationId="{35BE57D6-AB21-D250-D912-EDB26A75C691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02:55.978" v="296" actId="1076"/>
          <ac:spMkLst>
            <pc:docMk/>
            <pc:sldMk cId="197330321" sldId="1797"/>
            <ac:spMk id="12" creationId="{30D5BB12-A455-E6E6-AD11-01DCB32B0AC2}"/>
          </ac:spMkLst>
        </pc:spChg>
        <pc:picChg chg="add del mod ord">
          <ac:chgData name="Saracho Sandin, Luis Fernando" userId="S::lsarachosandin@deloitte.com::64c9d1a7-aa51-4f26-9333-1a205a883043" providerId="AD" clId="Web-{931907E7-CB87-4ADD-8E54-54B5A653FCF4}" dt="2022-10-26T16:47:43.415" v="261"/>
          <ac:picMkLst>
            <pc:docMk/>
            <pc:sldMk cId="197330321" sldId="1797"/>
            <ac:picMk id="2" creationId="{08B17043-D8C6-9F07-842B-F869142BD4D7}"/>
          </ac:picMkLst>
        </pc:picChg>
        <pc:picChg chg="add mod">
          <ac:chgData name="Saracho Sandin, Luis Fernando" userId="S::lsarachosandin@deloitte.com::64c9d1a7-aa51-4f26-9333-1a205a883043" providerId="AD" clId="Web-{931907E7-CB87-4ADD-8E54-54B5A653FCF4}" dt="2022-10-26T16:48:16.776" v="266" actId="1076"/>
          <ac:picMkLst>
            <pc:docMk/>
            <pc:sldMk cId="197330321" sldId="1797"/>
            <ac:picMk id="2" creationId="{89083761-B61F-F3C8-B7DC-EEA82191B749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54:23.210" v="277"/>
          <ac:picMkLst>
            <pc:docMk/>
            <pc:sldMk cId="197330321" sldId="1797"/>
            <ac:picMk id="3" creationId="{05D57C5B-D9B9-B605-3F77-CBA7BE4E2285}"/>
          </ac:picMkLst>
        </pc:picChg>
        <pc:picChg chg="add mod">
          <ac:chgData name="Saracho Sandin, Luis Fernando" userId="S::lsarachosandin@deloitte.com::64c9d1a7-aa51-4f26-9333-1a205a883043" providerId="AD" clId="Web-{931907E7-CB87-4ADD-8E54-54B5A653FCF4}" dt="2022-10-26T16:48:53.949" v="268" actId="1076"/>
          <ac:picMkLst>
            <pc:docMk/>
            <pc:sldMk cId="197330321" sldId="1797"/>
            <ac:picMk id="3" creationId="{4541848A-E1F1-03B6-5BEC-5C57569F3EA6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47:41.900" v="260"/>
          <ac:picMkLst>
            <pc:docMk/>
            <pc:sldMk cId="197330321" sldId="1797"/>
            <ac:picMk id="3" creationId="{6CBBDC3F-821E-7C5C-223F-44D21DE83216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49:53.795" v="272"/>
          <ac:picMkLst>
            <pc:docMk/>
            <pc:sldMk cId="197330321" sldId="1797"/>
            <ac:picMk id="5" creationId="{18CF7438-95E0-DBC3-1EAC-B9B84F734C2E}"/>
          </ac:picMkLst>
        </pc:picChg>
        <pc:picChg chg="add del mod">
          <ac:chgData name="Saracho Sandin, Luis Fernando" userId="S::lsarachosandin@deloitte.com::64c9d1a7-aa51-4f26-9333-1a205a883043" providerId="AD" clId="Web-{931907E7-CB87-4ADD-8E54-54B5A653FCF4}" dt="2022-10-26T16:47:40.165" v="259"/>
          <ac:picMkLst>
            <pc:docMk/>
            <pc:sldMk cId="197330321" sldId="1797"/>
            <ac:picMk id="13" creationId="{108AF037-5CCF-8979-0207-8E47A99932B9}"/>
          </ac:picMkLst>
        </pc:picChg>
      </pc:sldChg>
      <pc:sldChg chg="addSp modSp add replId">
        <pc:chgData name="Saracho Sandin, Luis Fernando" userId="S::lsarachosandin@deloitte.com::64c9d1a7-aa51-4f26-9333-1a205a883043" providerId="AD" clId="Web-{931907E7-CB87-4ADD-8E54-54B5A653FCF4}" dt="2022-10-26T17:02:45.587" v="295" actId="1076"/>
        <pc:sldMkLst>
          <pc:docMk/>
          <pc:sldMk cId="1293087361" sldId="1798"/>
        </pc:sldMkLst>
        <pc:spChg chg="mod">
          <ac:chgData name="Saracho Sandin, Luis Fernando" userId="S::lsarachosandin@deloitte.com::64c9d1a7-aa51-4f26-9333-1a205a883043" providerId="AD" clId="Web-{931907E7-CB87-4ADD-8E54-54B5A653FCF4}" dt="2022-10-26T16:27:26.904" v="83" actId="20577"/>
          <ac:spMkLst>
            <pc:docMk/>
            <pc:sldMk cId="1293087361" sldId="1798"/>
            <ac:spMk id="7" creationId="{DE31774E-5D23-A1E6-1DB9-B5DBFA745D8E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02:45.587" v="295" actId="1076"/>
          <ac:spMkLst>
            <pc:docMk/>
            <pc:sldMk cId="1293087361" sldId="1798"/>
            <ac:spMk id="9" creationId="{410EF4F8-6987-0BA8-A954-740D7430F21E}"/>
          </ac:spMkLst>
        </pc:spChg>
        <pc:picChg chg="add mod">
          <ac:chgData name="Saracho Sandin, Luis Fernando" userId="S::lsarachosandin@deloitte.com::64c9d1a7-aa51-4f26-9333-1a205a883043" providerId="AD" clId="Web-{931907E7-CB87-4ADD-8E54-54B5A653FCF4}" dt="2022-10-26T17:00:21.285" v="281" actId="1076"/>
          <ac:picMkLst>
            <pc:docMk/>
            <pc:sldMk cId="1293087361" sldId="1798"/>
            <ac:picMk id="6" creationId="{690745C0-83E6-7E9F-1606-245D4CBA872F}"/>
          </ac:picMkLst>
        </pc:picChg>
      </pc:sldChg>
      <pc:sldChg chg="addSp delSp modSp add replId">
        <pc:chgData name="Saracho Sandin, Luis Fernando" userId="S::lsarachosandin@deloitte.com::64c9d1a7-aa51-4f26-9333-1a205a883043" providerId="AD" clId="Web-{931907E7-CB87-4ADD-8E54-54B5A653FCF4}" dt="2022-10-26T17:02:35.962" v="294" actId="1076"/>
        <pc:sldMkLst>
          <pc:docMk/>
          <pc:sldMk cId="3108468057" sldId="1799"/>
        </pc:sldMkLst>
        <pc:spChg chg="add del">
          <ac:chgData name="Saracho Sandin, Luis Fernando" userId="S::lsarachosandin@deloitte.com::64c9d1a7-aa51-4f26-9333-1a205a883043" providerId="AD" clId="Web-{931907E7-CB87-4ADD-8E54-54B5A653FCF4}" dt="2022-10-26T17:01:22.866" v="288"/>
          <ac:spMkLst>
            <pc:docMk/>
            <pc:sldMk cId="3108468057" sldId="1799"/>
            <ac:spMk id="2" creationId="{8BCC3993-D838-F5F5-CA7A-C4721F717FB5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6:27:31.185" v="84" actId="20577"/>
          <ac:spMkLst>
            <pc:docMk/>
            <pc:sldMk cId="3108468057" sldId="1799"/>
            <ac:spMk id="7" creationId="{DE31774E-5D23-A1E6-1DB9-B5DBFA745D8E}"/>
          </ac:spMkLst>
        </pc:spChg>
        <pc:spChg chg="mod">
          <ac:chgData name="Saracho Sandin, Luis Fernando" userId="S::lsarachosandin@deloitte.com::64c9d1a7-aa51-4f26-9333-1a205a883043" providerId="AD" clId="Web-{931907E7-CB87-4ADD-8E54-54B5A653FCF4}" dt="2022-10-26T17:02:35.962" v="294" actId="1076"/>
          <ac:spMkLst>
            <pc:docMk/>
            <pc:sldMk cId="3108468057" sldId="1799"/>
            <ac:spMk id="12" creationId="{E97393F9-FCDE-A56B-473E-E72D328E6ABF}"/>
          </ac:spMkLst>
        </pc:spChg>
        <pc:picChg chg="add del mod ord">
          <ac:chgData name="Saracho Sandin, Luis Fernando" userId="S::lsarachosandin@deloitte.com::64c9d1a7-aa51-4f26-9333-1a205a883043" providerId="AD" clId="Web-{931907E7-CB87-4ADD-8E54-54B5A653FCF4}" dt="2022-10-26T17:01:08.334" v="283"/>
          <ac:picMkLst>
            <pc:docMk/>
            <pc:sldMk cId="3108468057" sldId="1799"/>
            <ac:picMk id="6" creationId="{3EBCE48B-4BEB-8CD0-0BEA-E77F9467BE90}"/>
          </ac:picMkLst>
        </pc:picChg>
        <pc:picChg chg="add del mod ord">
          <ac:chgData name="Saracho Sandin, Luis Fernando" userId="S::lsarachosandin@deloitte.com::64c9d1a7-aa51-4f26-9333-1a205a883043" providerId="AD" clId="Web-{931907E7-CB87-4ADD-8E54-54B5A653FCF4}" dt="2022-10-26T17:01:19.053" v="287"/>
          <ac:picMkLst>
            <pc:docMk/>
            <pc:sldMk cId="3108468057" sldId="1799"/>
            <ac:picMk id="9" creationId="{665673D3-D59C-0557-AC24-2E2DB417035E}"/>
          </ac:picMkLst>
        </pc:picChg>
        <pc:picChg chg="add mod ord">
          <ac:chgData name="Saracho Sandin, Luis Fernando" userId="S::lsarachosandin@deloitte.com::64c9d1a7-aa51-4f26-9333-1a205a883043" providerId="AD" clId="Web-{931907E7-CB87-4ADD-8E54-54B5A653FCF4}" dt="2022-10-26T17:01:41.476" v="293" actId="1076"/>
          <ac:picMkLst>
            <pc:docMk/>
            <pc:sldMk cId="3108468057" sldId="1799"/>
            <ac:picMk id="11" creationId="{D169F1E4-0EAA-B2D1-3FBD-C50FB78BD5AF}"/>
          </ac:picMkLst>
        </pc:picChg>
      </pc:sldChg>
    </pc:docChg>
  </pc:docChgLst>
  <pc:docChgLst>
    <pc:chgData name="Saracho Sandin, Luis Fernando" userId="S::lsarachosandin@deloitte.com::64c9d1a7-aa51-4f26-9333-1a205a883043" providerId="AD" clId="Web-{2F13B4E6-4A5D-4F69-AAE8-F85D1729219E}"/>
    <pc:docChg chg="modSld">
      <pc:chgData name="Saracho Sandin, Luis Fernando" userId="S::lsarachosandin@deloitte.com::64c9d1a7-aa51-4f26-9333-1a205a883043" providerId="AD" clId="Web-{2F13B4E6-4A5D-4F69-AAE8-F85D1729219E}" dt="2022-10-26T15:53:49.623" v="63" actId="20577"/>
      <pc:docMkLst>
        <pc:docMk/>
      </pc:docMkLst>
      <pc:sldChg chg="addSp delSp modSp">
        <pc:chgData name="Saracho Sandin, Luis Fernando" userId="S::lsarachosandin@deloitte.com::64c9d1a7-aa51-4f26-9333-1a205a883043" providerId="AD" clId="Web-{2F13B4E6-4A5D-4F69-AAE8-F85D1729219E}" dt="2022-10-26T15:53:49.623" v="63" actId="20577"/>
        <pc:sldMkLst>
          <pc:docMk/>
          <pc:sldMk cId="1225603327" sldId="457"/>
        </pc:sldMkLst>
        <pc:spChg chg="del mod">
          <ac:chgData name="Saracho Sandin, Luis Fernando" userId="S::lsarachosandin@deloitte.com::64c9d1a7-aa51-4f26-9333-1a205a883043" providerId="AD" clId="Web-{2F13B4E6-4A5D-4F69-AAE8-F85D1729219E}" dt="2022-10-26T15:53:17.684" v="55"/>
          <ac:spMkLst>
            <pc:docMk/>
            <pc:sldMk cId="1225603327" sldId="457"/>
            <ac:spMk id="2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27.685" v="57" actId="20577"/>
          <ac:spMkLst>
            <pc:docMk/>
            <pc:sldMk cId="1225603327" sldId="457"/>
            <ac:spMk id="3" creationId="{00000000-0000-0000-0000-000000000000}"/>
          </ac:spMkLst>
        </pc:spChg>
        <pc:spChg chg="add del mod">
          <ac:chgData name="Saracho Sandin, Luis Fernando" userId="S::lsarachosandin@deloitte.com::64c9d1a7-aa51-4f26-9333-1a205a883043" providerId="AD" clId="Web-{2F13B4E6-4A5D-4F69-AAE8-F85D1729219E}" dt="2022-10-26T15:53:23.044" v="56"/>
          <ac:spMkLst>
            <pc:docMk/>
            <pc:sldMk cId="1225603327" sldId="457"/>
            <ac:spMk id="5" creationId="{C52A78CD-3162-8D6F-1945-753708CEA5F8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32.122" v="58" actId="20577"/>
          <ac:spMkLst>
            <pc:docMk/>
            <pc:sldMk cId="1225603327" sldId="457"/>
            <ac:spMk id="15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37.029" v="59" actId="20577"/>
          <ac:spMkLst>
            <pc:docMk/>
            <pc:sldMk cId="1225603327" sldId="457"/>
            <ac:spMk id="16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40.357" v="60" actId="20577"/>
          <ac:spMkLst>
            <pc:docMk/>
            <pc:sldMk cId="1225603327" sldId="457"/>
            <ac:spMk id="17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44.732" v="61" actId="20577"/>
          <ac:spMkLst>
            <pc:docMk/>
            <pc:sldMk cId="1225603327" sldId="457"/>
            <ac:spMk id="18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47.357" v="62" actId="20577"/>
          <ac:spMkLst>
            <pc:docMk/>
            <pc:sldMk cId="1225603327" sldId="457"/>
            <ac:spMk id="19" creationId="{00000000-0000-0000-0000-000000000000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3:49.623" v="63" actId="20577"/>
          <ac:spMkLst>
            <pc:docMk/>
            <pc:sldMk cId="1225603327" sldId="457"/>
            <ac:spMk id="20" creationId="{00000000-0000-0000-0000-000000000000}"/>
          </ac:spMkLst>
        </pc:spChg>
      </pc:sldChg>
      <pc:sldChg chg="addSp delSp modSp">
        <pc:chgData name="Saracho Sandin, Luis Fernando" userId="S::lsarachosandin@deloitte.com::64c9d1a7-aa51-4f26-9333-1a205a883043" providerId="AD" clId="Web-{2F13B4E6-4A5D-4F69-AAE8-F85D1729219E}" dt="2022-10-26T15:52:42.027" v="29"/>
        <pc:sldMkLst>
          <pc:docMk/>
          <pc:sldMk cId="3102866459" sldId="779"/>
        </pc:sldMkLst>
        <pc:spChg chg="add del mod">
          <ac:chgData name="Saracho Sandin, Luis Fernando" userId="S::lsarachosandin@deloitte.com::64c9d1a7-aa51-4f26-9333-1a205a883043" providerId="AD" clId="Web-{2F13B4E6-4A5D-4F69-AAE8-F85D1729219E}" dt="2022-10-26T15:52:42.027" v="29"/>
          <ac:spMkLst>
            <pc:docMk/>
            <pc:sldMk cId="3102866459" sldId="779"/>
            <ac:spMk id="2" creationId="{853EE068-68B0-DE45-A23C-439E9BD7BB25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0:33.320" v="7" actId="20577"/>
          <ac:spMkLst>
            <pc:docMk/>
            <pc:sldMk cId="3102866459" sldId="779"/>
            <ac:spMk id="3" creationId="{F52C0ACD-0D98-4DE6-9146-54BD5195D6AF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2:12.151" v="25" actId="20577"/>
          <ac:spMkLst>
            <pc:docMk/>
            <pc:sldMk cId="3102866459" sldId="779"/>
            <ac:spMk id="19" creationId="{A83E7845-F5A4-435F-A034-85FE37A0D924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2:11.932" v="23" actId="20577"/>
          <ac:spMkLst>
            <pc:docMk/>
            <pc:sldMk cId="3102866459" sldId="779"/>
            <ac:spMk id="21" creationId="{A7404E68-8F6E-4415-B6E0-2E21A5998844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1:06.586" v="21" actId="20577"/>
          <ac:spMkLst>
            <pc:docMk/>
            <pc:sldMk cId="3102866459" sldId="779"/>
            <ac:spMk id="23" creationId="{4CD23CFE-3F31-4BA9-B26F-B9B5B351518E}"/>
          </ac:spMkLst>
        </pc:spChg>
        <pc:spChg chg="mod">
          <ac:chgData name="Saracho Sandin, Luis Fernando" userId="S::lsarachosandin@deloitte.com::64c9d1a7-aa51-4f26-9333-1a205a883043" providerId="AD" clId="Web-{2F13B4E6-4A5D-4F69-AAE8-F85D1729219E}" dt="2022-10-26T15:50:51.461" v="20" actId="1076"/>
          <ac:spMkLst>
            <pc:docMk/>
            <pc:sldMk cId="3102866459" sldId="779"/>
            <ac:spMk id="28" creationId="{9B9B23AA-050D-4543-80A0-873FE31AFFF7}"/>
          </ac:spMkLst>
        </pc:spChg>
      </pc:sldChg>
      <pc:sldChg chg="addSp modSp">
        <pc:chgData name="Saracho Sandin, Luis Fernando" userId="S::lsarachosandin@deloitte.com::64c9d1a7-aa51-4f26-9333-1a205a883043" providerId="AD" clId="Web-{2F13B4E6-4A5D-4F69-AAE8-F85D1729219E}" dt="2022-10-26T15:49:45.834" v="5" actId="1076"/>
        <pc:sldMkLst>
          <pc:docMk/>
          <pc:sldMk cId="681282729" sldId="1795"/>
        </pc:sldMkLst>
        <pc:picChg chg="add mod">
          <ac:chgData name="Saracho Sandin, Luis Fernando" userId="S::lsarachosandin@deloitte.com::64c9d1a7-aa51-4f26-9333-1a205a883043" providerId="AD" clId="Web-{2F13B4E6-4A5D-4F69-AAE8-F85D1729219E}" dt="2022-10-26T15:49:45.834" v="5" actId="1076"/>
          <ac:picMkLst>
            <pc:docMk/>
            <pc:sldMk cId="681282729" sldId="1795"/>
            <ac:picMk id="2" creationId="{28BE866F-D2AB-B00B-6902-1AA1D862462A}"/>
          </ac:picMkLst>
        </pc:picChg>
      </pc:sldChg>
    </pc:docChg>
  </pc:docChgLst>
  <pc:docChgLst>
    <pc:chgData name="Cathcart, Alex" userId="S::acathcart@deloitte.com::05962915-de22-4fd1-8c05-3b26da3d783f" providerId="AD" clId="Web-{1FEE3A5B-99AB-4EC6-87E1-E4CFF265513B}"/>
    <pc:docChg chg="modSld">
      <pc:chgData name="Cathcart, Alex" userId="S::acathcart@deloitte.com::05962915-de22-4fd1-8c05-3b26da3d783f" providerId="AD" clId="Web-{1FEE3A5B-99AB-4EC6-87E1-E4CFF265513B}" dt="2022-10-25T16:20:14.596" v="62" actId="20577"/>
      <pc:docMkLst>
        <pc:docMk/>
      </pc:docMkLst>
      <pc:sldChg chg="modSp">
        <pc:chgData name="Cathcart, Alex" userId="S::acathcart@deloitte.com::05962915-de22-4fd1-8c05-3b26da3d783f" providerId="AD" clId="Web-{1FEE3A5B-99AB-4EC6-87E1-E4CFF265513B}" dt="2022-10-25T16:20:14.596" v="62" actId="20577"/>
        <pc:sldMkLst>
          <pc:docMk/>
          <pc:sldMk cId="230052633" sldId="514"/>
        </pc:sldMkLst>
        <pc:spChg chg="mod">
          <ac:chgData name="Cathcart, Alex" userId="S::acathcart@deloitte.com::05962915-de22-4fd1-8c05-3b26da3d783f" providerId="AD" clId="Web-{1FEE3A5B-99AB-4EC6-87E1-E4CFF265513B}" dt="2022-10-25T16:20:14.596" v="62" actId="20577"/>
          <ac:spMkLst>
            <pc:docMk/>
            <pc:sldMk cId="230052633" sldId="514"/>
            <ac:spMk id="12" creationId="{00000000-0000-0000-0000-000000000000}"/>
          </ac:spMkLst>
        </pc:spChg>
      </pc:sldChg>
      <pc:sldChg chg="modSp">
        <pc:chgData name="Cathcart, Alex" userId="S::acathcart@deloitte.com::05962915-de22-4fd1-8c05-3b26da3d783f" providerId="AD" clId="Web-{1FEE3A5B-99AB-4EC6-87E1-E4CFF265513B}" dt="2022-10-25T16:18:34.188" v="19" actId="1076"/>
        <pc:sldMkLst>
          <pc:docMk/>
          <pc:sldMk cId="3102866459" sldId="779"/>
        </pc:sldMkLst>
        <pc:spChg chg="mod">
          <ac:chgData name="Cathcart, Alex" userId="S::acathcart@deloitte.com::05962915-de22-4fd1-8c05-3b26da3d783f" providerId="AD" clId="Web-{1FEE3A5B-99AB-4EC6-87E1-E4CFF265513B}" dt="2022-10-25T16:18:13.859" v="7" actId="20577"/>
          <ac:spMkLst>
            <pc:docMk/>
            <pc:sldMk cId="3102866459" sldId="779"/>
            <ac:spMk id="3" creationId="{F52C0ACD-0D98-4DE6-9146-54BD5195D6AF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3.875" v="8" actId="1076"/>
          <ac:spMkLst>
            <pc:docMk/>
            <pc:sldMk cId="3102866459" sldId="779"/>
            <ac:spMk id="19" creationId="{A83E7845-F5A4-435F-A034-85FE37A0D924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3.891" v="9" actId="1076"/>
          <ac:spMkLst>
            <pc:docMk/>
            <pc:sldMk cId="3102866459" sldId="779"/>
            <ac:spMk id="20" creationId="{A6783977-F4C9-4789-B6EB-03F2478728D2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3.922" v="10" actId="1076"/>
          <ac:spMkLst>
            <pc:docMk/>
            <pc:sldMk cId="3102866459" sldId="779"/>
            <ac:spMk id="21" creationId="{A7404E68-8F6E-4415-B6E0-2E21A5998844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3.953" v="11" actId="1076"/>
          <ac:spMkLst>
            <pc:docMk/>
            <pc:sldMk cId="3102866459" sldId="779"/>
            <ac:spMk id="22" creationId="{7BB796F0-2DE6-45B1-851B-D8991F423CF4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4" v="12" actId="1076"/>
          <ac:spMkLst>
            <pc:docMk/>
            <pc:sldMk cId="3102866459" sldId="779"/>
            <ac:spMk id="23" creationId="{4CD23CFE-3F31-4BA9-B26F-B9B5B351518E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4.016" v="13" actId="1076"/>
          <ac:spMkLst>
            <pc:docMk/>
            <pc:sldMk cId="3102866459" sldId="779"/>
            <ac:spMk id="24" creationId="{4F0DE697-EE87-4D12-9875-D2453715F08D}"/>
          </ac:spMkLst>
        </pc:spChg>
        <pc:spChg chg="mod">
          <ac:chgData name="Cathcart, Alex" userId="S::acathcart@deloitte.com::05962915-de22-4fd1-8c05-3b26da3d783f" providerId="AD" clId="Web-{1FEE3A5B-99AB-4EC6-87E1-E4CFF265513B}" dt="2022-10-25T16:18:34.094" v="15" actId="1076"/>
          <ac:spMkLst>
            <pc:docMk/>
            <pc:sldMk cId="3102866459" sldId="779"/>
            <ac:spMk id="28" creationId="{9B9B23AA-050D-4543-80A0-873FE31AFFF7}"/>
          </ac:spMkLst>
        </pc:spChg>
        <pc:grpChg chg="mod">
          <ac:chgData name="Cathcart, Alex" userId="S::acathcart@deloitte.com::05962915-de22-4fd1-8c05-3b26da3d783f" providerId="AD" clId="Web-{1FEE3A5B-99AB-4EC6-87E1-E4CFF265513B}" dt="2022-10-25T16:18:34.047" v="14" actId="1076"/>
          <ac:grpSpMkLst>
            <pc:docMk/>
            <pc:sldMk cId="3102866459" sldId="779"/>
            <ac:grpSpMk id="25" creationId="{7B424503-728B-4986-8C7A-8D08147061B7}"/>
          </ac:grpSpMkLst>
        </pc:grpChg>
        <pc:cxnChg chg="mod">
          <ac:chgData name="Cathcart, Alex" userId="S::acathcart@deloitte.com::05962915-de22-4fd1-8c05-3b26da3d783f" providerId="AD" clId="Web-{1FEE3A5B-99AB-4EC6-87E1-E4CFF265513B}" dt="2022-10-25T16:18:34.110" v="16" actId="1076"/>
          <ac:cxnSpMkLst>
            <pc:docMk/>
            <pc:sldMk cId="3102866459" sldId="779"/>
            <ac:cxnSpMk id="29" creationId="{09E553D9-3562-45A7-BE4B-0F12FAA0490F}"/>
          </ac:cxnSpMkLst>
        </pc:cxnChg>
        <pc:cxnChg chg="mod">
          <ac:chgData name="Cathcart, Alex" userId="S::acathcart@deloitte.com::05962915-de22-4fd1-8c05-3b26da3d783f" providerId="AD" clId="Web-{1FEE3A5B-99AB-4EC6-87E1-E4CFF265513B}" dt="2022-10-25T16:18:34.141" v="17" actId="1076"/>
          <ac:cxnSpMkLst>
            <pc:docMk/>
            <pc:sldMk cId="3102866459" sldId="779"/>
            <ac:cxnSpMk id="30" creationId="{DA735D38-741F-4EFB-826C-6F87FD459AB4}"/>
          </ac:cxnSpMkLst>
        </pc:cxnChg>
        <pc:cxnChg chg="mod">
          <ac:chgData name="Cathcart, Alex" userId="S::acathcart@deloitte.com::05962915-de22-4fd1-8c05-3b26da3d783f" providerId="AD" clId="Web-{1FEE3A5B-99AB-4EC6-87E1-E4CFF265513B}" dt="2022-10-25T16:18:34.172" v="18" actId="1076"/>
          <ac:cxnSpMkLst>
            <pc:docMk/>
            <pc:sldMk cId="3102866459" sldId="779"/>
            <ac:cxnSpMk id="31" creationId="{EBCFE36B-AE16-49E8-90A6-6621A0EB0473}"/>
          </ac:cxnSpMkLst>
        </pc:cxnChg>
        <pc:cxnChg chg="mod">
          <ac:chgData name="Cathcart, Alex" userId="S::acathcart@deloitte.com::05962915-de22-4fd1-8c05-3b26da3d783f" providerId="AD" clId="Web-{1FEE3A5B-99AB-4EC6-87E1-E4CFF265513B}" dt="2022-10-25T16:18:34.188" v="19" actId="1076"/>
          <ac:cxnSpMkLst>
            <pc:docMk/>
            <pc:sldMk cId="3102866459" sldId="779"/>
            <ac:cxnSpMk id="32" creationId="{2697F6E2-C26B-4E5F-B7F9-95C6E9325040}"/>
          </ac:cxnSpMkLst>
        </pc:cxnChg>
      </pc:sldChg>
    </pc:docChg>
  </pc:docChgLst>
  <pc:docChgLst>
    <pc:chgData name="Saracho Sandin, Luis Fernando" userId="S::lsarachosandin@deloitte.com::64c9d1a7-aa51-4f26-9333-1a205a883043" providerId="AD" clId="Web-{50F545A0-DB47-4AB5-B980-1A4170FAE0E1}"/>
    <pc:docChg chg="modSld">
      <pc:chgData name="Saracho Sandin, Luis Fernando" userId="S::lsarachosandin@deloitte.com::64c9d1a7-aa51-4f26-9333-1a205a883043" providerId="AD" clId="Web-{50F545A0-DB47-4AB5-B980-1A4170FAE0E1}" dt="2022-10-27T17:36:10.206" v="113" actId="1076"/>
      <pc:docMkLst>
        <pc:docMk/>
      </pc:docMkLst>
      <pc:sldChg chg="modSp">
        <pc:chgData name="Saracho Sandin, Luis Fernando" userId="S::lsarachosandin@deloitte.com::64c9d1a7-aa51-4f26-9333-1a205a883043" providerId="AD" clId="Web-{50F545A0-DB47-4AB5-B980-1A4170FAE0E1}" dt="2022-10-27T17:36:10.206" v="113" actId="1076"/>
        <pc:sldMkLst>
          <pc:docMk/>
          <pc:sldMk cId="681282729" sldId="1795"/>
        </pc:sldMkLst>
        <pc:spChg chg="mod">
          <ac:chgData name="Saracho Sandin, Luis Fernando" userId="S::lsarachosandin@deloitte.com::64c9d1a7-aa51-4f26-9333-1a205a883043" providerId="AD" clId="Web-{50F545A0-DB47-4AB5-B980-1A4170FAE0E1}" dt="2022-10-27T17:36:10.206" v="113" actId="1076"/>
          <ac:spMkLst>
            <pc:docMk/>
            <pc:sldMk cId="681282729" sldId="1795"/>
            <ac:spMk id="10" creationId="{C2290A8E-783C-A952-8223-175ACBB04A5A}"/>
          </ac:spMkLst>
        </pc:spChg>
      </pc:sldChg>
      <pc:sldChg chg="addSp delSp modSp">
        <pc:chgData name="Saracho Sandin, Luis Fernando" userId="S::lsarachosandin@deloitte.com::64c9d1a7-aa51-4f26-9333-1a205a883043" providerId="AD" clId="Web-{50F545A0-DB47-4AB5-B980-1A4170FAE0E1}" dt="2022-10-27T17:27:14.545" v="105"/>
        <pc:sldMkLst>
          <pc:docMk/>
          <pc:sldMk cId="2073585440" sldId="1803"/>
        </pc:sldMkLst>
        <pc:spChg chg="del">
          <ac:chgData name="Saracho Sandin, Luis Fernando" userId="S::lsarachosandin@deloitte.com::64c9d1a7-aa51-4f26-9333-1a205a883043" providerId="AD" clId="Web-{50F545A0-DB47-4AB5-B980-1A4170FAE0E1}" dt="2022-10-27T17:14:07.517" v="25"/>
          <ac:spMkLst>
            <pc:docMk/>
            <pc:sldMk cId="2073585440" sldId="1803"/>
            <ac:spMk id="4" creationId="{13D0A514-CF7A-14E6-B760-48163CF3D589}"/>
          </ac:spMkLst>
        </pc:spChg>
        <pc:spChg chg="add del mod">
          <ac:chgData name="Saracho Sandin, Luis Fernando" userId="S::lsarachosandin@deloitte.com::64c9d1a7-aa51-4f26-9333-1a205a883043" providerId="AD" clId="Web-{50F545A0-DB47-4AB5-B980-1A4170FAE0E1}" dt="2022-10-27T17:14:10.876" v="26"/>
          <ac:spMkLst>
            <pc:docMk/>
            <pc:sldMk cId="2073585440" sldId="1803"/>
            <ac:spMk id="6" creationId="{5F9D018E-68DE-DC25-2A58-CD69D13111E1}"/>
          </ac:spMkLst>
        </pc:spChg>
        <pc:spChg chg="mod">
          <ac:chgData name="Saracho Sandin, Luis Fernando" userId="S::lsarachosandin@deloitte.com::64c9d1a7-aa51-4f26-9333-1a205a883043" providerId="AD" clId="Web-{50F545A0-DB47-4AB5-B980-1A4170FAE0E1}" dt="2022-10-27T17:16:51.913" v="98" actId="20577"/>
          <ac:spMkLst>
            <pc:docMk/>
            <pc:sldMk cId="2073585440" sldId="1803"/>
            <ac:spMk id="9" creationId="{16DFA5BF-711F-4500-5B49-07DEEEB5149E}"/>
          </ac:spMkLst>
        </pc:spChg>
        <pc:spChg chg="add mod">
          <ac:chgData name="Saracho Sandin, Luis Fernando" userId="S::lsarachosandin@deloitte.com::64c9d1a7-aa51-4f26-9333-1a205a883043" providerId="AD" clId="Web-{50F545A0-DB47-4AB5-B980-1A4170FAE0E1}" dt="2022-10-27T17:17:18.711" v="102" actId="14100"/>
          <ac:spMkLst>
            <pc:docMk/>
            <pc:sldMk cId="2073585440" sldId="1803"/>
            <ac:spMk id="10" creationId="{3240192E-4723-5FB5-67BA-222730B812B5}"/>
          </ac:spMkLst>
        </pc:spChg>
        <pc:picChg chg="add del mod">
          <ac:chgData name="Saracho Sandin, Luis Fernando" userId="S::lsarachosandin@deloitte.com::64c9d1a7-aa51-4f26-9333-1a205a883043" providerId="AD" clId="Web-{50F545A0-DB47-4AB5-B980-1A4170FAE0E1}" dt="2022-10-27T17:27:14.545" v="105"/>
          <ac:picMkLst>
            <pc:docMk/>
            <pc:sldMk cId="2073585440" sldId="1803"/>
            <ac:picMk id="11" creationId="{07EA7F43-25E6-1D94-F0B8-C3D4377B9A39}"/>
          </ac:picMkLst>
        </pc:picChg>
      </pc:sldChg>
    </pc:docChg>
  </pc:docChgLst>
  <pc:docChgLst>
    <pc:chgData name="Wagner, Mason" userId="S::maswagner@deloitte.com::f1c33596-bee1-4a78-989b-e0dcd1a9a344" providerId="AD" clId="Web-{8116588A-5125-4BEB-A2BB-C8B7FFD45C5D}"/>
    <pc:docChg chg="addSld modSld sldOrd">
      <pc:chgData name="Wagner, Mason" userId="S::maswagner@deloitte.com::f1c33596-bee1-4a78-989b-e0dcd1a9a344" providerId="AD" clId="Web-{8116588A-5125-4BEB-A2BB-C8B7FFD45C5D}" dt="2022-10-25T20:50:03.712" v="13" actId="1076"/>
      <pc:docMkLst>
        <pc:docMk/>
      </pc:docMkLst>
      <pc:sldChg chg="ord">
        <pc:chgData name="Wagner, Mason" userId="S::maswagner@deloitte.com::f1c33596-bee1-4a78-989b-e0dcd1a9a344" providerId="AD" clId="Web-{8116588A-5125-4BEB-A2BB-C8B7FFD45C5D}" dt="2022-10-25T20:49:15.239" v="0"/>
        <pc:sldMkLst>
          <pc:docMk/>
          <pc:sldMk cId="4250281541" sldId="1793"/>
        </pc:sldMkLst>
      </pc:sldChg>
      <pc:sldChg chg="addSp delSp modSp new">
        <pc:chgData name="Wagner, Mason" userId="S::maswagner@deloitte.com::f1c33596-bee1-4a78-989b-e0dcd1a9a344" providerId="AD" clId="Web-{8116588A-5125-4BEB-A2BB-C8B7FFD45C5D}" dt="2022-10-25T20:50:03.712" v="13" actId="1076"/>
        <pc:sldMkLst>
          <pc:docMk/>
          <pc:sldMk cId="1832683842" sldId="1794"/>
        </pc:sldMkLst>
        <pc:spChg chg="del">
          <ac:chgData name="Wagner, Mason" userId="S::maswagner@deloitte.com::f1c33596-bee1-4a78-989b-e0dcd1a9a344" providerId="AD" clId="Web-{8116588A-5125-4BEB-A2BB-C8B7FFD45C5D}" dt="2022-10-25T20:49:21.912" v="2"/>
          <ac:spMkLst>
            <pc:docMk/>
            <pc:sldMk cId="1832683842" sldId="1794"/>
            <ac:spMk id="2" creationId="{1441F06D-0B49-E7FA-4427-D3803BD12467}"/>
          </ac:spMkLst>
        </pc:spChg>
        <pc:spChg chg="del">
          <ac:chgData name="Wagner, Mason" userId="S::maswagner@deloitte.com::f1c33596-bee1-4a78-989b-e0dcd1a9a344" providerId="AD" clId="Web-{8116588A-5125-4BEB-A2BB-C8B7FFD45C5D}" dt="2022-10-25T20:49:24.178" v="3"/>
          <ac:spMkLst>
            <pc:docMk/>
            <pc:sldMk cId="1832683842" sldId="1794"/>
            <ac:spMk id="3" creationId="{15FAAEDF-55D2-BEF2-866D-10A7523D661E}"/>
          </ac:spMkLst>
        </pc:spChg>
        <pc:picChg chg="add mod">
          <ac:chgData name="Wagner, Mason" userId="S::maswagner@deloitte.com::f1c33596-bee1-4a78-989b-e0dcd1a9a344" providerId="AD" clId="Web-{8116588A-5125-4BEB-A2BB-C8B7FFD45C5D}" dt="2022-10-25T20:49:59.118" v="10" actId="14100"/>
          <ac:picMkLst>
            <pc:docMk/>
            <pc:sldMk cId="1832683842" sldId="1794"/>
            <ac:picMk id="4" creationId="{7AE497BF-B4B7-E62D-15D2-6735CE1DBF74}"/>
          </ac:picMkLst>
        </pc:picChg>
        <pc:picChg chg="add mod">
          <ac:chgData name="Wagner, Mason" userId="S::maswagner@deloitte.com::f1c33596-bee1-4a78-989b-e0dcd1a9a344" providerId="AD" clId="Web-{8116588A-5125-4BEB-A2BB-C8B7FFD45C5D}" dt="2022-10-25T20:50:03.712" v="13" actId="1076"/>
          <ac:picMkLst>
            <pc:docMk/>
            <pc:sldMk cId="1832683842" sldId="1794"/>
            <ac:picMk id="5" creationId="{C4B9ACD8-7067-6E31-6FBB-FF2E95948629}"/>
          </ac:picMkLst>
        </pc:picChg>
      </pc:sldChg>
    </pc:docChg>
  </pc:docChgLst>
  <pc:docChgLst>
    <pc:chgData name="Cathcart, Alex" userId="S::acathcart@deloitte.com::05962915-de22-4fd1-8c05-3b26da3d783f" providerId="AD" clId="Web-{9925C563-A278-4B31-9EC5-07C58F4BF68C}"/>
    <pc:docChg chg="modSld">
      <pc:chgData name="Cathcart, Alex" userId="S::acathcart@deloitte.com::05962915-de22-4fd1-8c05-3b26da3d783f" providerId="AD" clId="Web-{9925C563-A278-4B31-9EC5-07C58F4BF68C}" dt="2022-10-26T16:12:46.915" v="161" actId="1076"/>
      <pc:docMkLst>
        <pc:docMk/>
      </pc:docMkLst>
      <pc:sldChg chg="addSp modSp">
        <pc:chgData name="Cathcart, Alex" userId="S::acathcart@deloitte.com::05962915-de22-4fd1-8c05-3b26da3d783f" providerId="AD" clId="Web-{9925C563-A278-4B31-9EC5-07C58F4BF68C}" dt="2022-10-26T16:12:46.915" v="161" actId="1076"/>
        <pc:sldMkLst>
          <pc:docMk/>
          <pc:sldMk cId="3102866459" sldId="779"/>
        </pc:sldMkLst>
        <pc:spChg chg="add mod">
          <ac:chgData name="Cathcart, Alex" userId="S::acathcart@deloitte.com::05962915-de22-4fd1-8c05-3b26da3d783f" providerId="AD" clId="Web-{9925C563-A278-4B31-9EC5-07C58F4BF68C}" dt="2022-10-26T16:11:29.648" v="68" actId="1076"/>
          <ac:spMkLst>
            <pc:docMk/>
            <pc:sldMk cId="3102866459" sldId="779"/>
            <ac:spMk id="5" creationId="{156238EA-9910-422C-C492-35D25AD8467F}"/>
          </ac:spMkLst>
        </pc:spChg>
        <pc:spChg chg="add mod">
          <ac:chgData name="Cathcart, Alex" userId="S::acathcart@deloitte.com::05962915-de22-4fd1-8c05-3b26da3d783f" providerId="AD" clId="Web-{9925C563-A278-4B31-9EC5-07C58F4BF68C}" dt="2022-10-26T16:12:46.915" v="161" actId="1076"/>
          <ac:spMkLst>
            <pc:docMk/>
            <pc:sldMk cId="3102866459" sldId="779"/>
            <ac:spMk id="6" creationId="{C718A569-21C0-1BB5-3FA4-4FD8B426DAE1}"/>
          </ac:spMkLst>
        </pc:spChg>
        <pc:spChg chg="add mod">
          <ac:chgData name="Cathcart, Alex" userId="S::acathcart@deloitte.com::05962915-de22-4fd1-8c05-3b26da3d783f" providerId="AD" clId="Web-{9925C563-A278-4B31-9EC5-07C58F4BF68C}" dt="2022-10-26T16:12:09.883" v="114" actId="1076"/>
          <ac:spMkLst>
            <pc:docMk/>
            <pc:sldMk cId="3102866459" sldId="779"/>
            <ac:spMk id="7" creationId="{13BFA71B-0196-D0A2-53FD-2D348E757707}"/>
          </ac:spMkLst>
        </pc:spChg>
        <pc:spChg chg="add mod">
          <ac:chgData name="Cathcart, Alex" userId="S::acathcart@deloitte.com::05962915-de22-4fd1-8c05-3b26da3d783f" providerId="AD" clId="Web-{9925C563-A278-4B31-9EC5-07C58F4BF68C}" dt="2022-10-26T16:12:43.728" v="160" actId="1076"/>
          <ac:spMkLst>
            <pc:docMk/>
            <pc:sldMk cId="3102866459" sldId="779"/>
            <ac:spMk id="9" creationId="{AE0A6794-46CC-DB7A-A333-E56B679275C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44DF5-1ACF-4324-84A9-76300DC7B982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DACBF0-03D0-42DD-80FB-1A2B65B758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96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ara: Strategy and analy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ACBF0-03D0-42DD-80FB-1A2B65B758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345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fter combining all data, we used 1378 mov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ACBF0-03D0-42DD-80FB-1A2B65B758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435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ACBF0-03D0-42DD-80FB-1A2B65B7586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025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ank you Alex,</a:t>
            </a:r>
          </a:p>
          <a:p>
            <a:r>
              <a:rPr lang="en-US"/>
              <a:t>Knowing the expecting gross from both domestic and worldwide, and popular genres, lets see the overall gross from each genres</a:t>
            </a:r>
          </a:p>
          <a:p>
            <a:r>
              <a:rPr lang="en-US"/>
              <a:t>This is a box diagram that shows the gross of each genres from previous top 10 genres</a:t>
            </a:r>
          </a:p>
          <a:p>
            <a:endParaRPr lang="en-US"/>
          </a:p>
          <a:p>
            <a:r>
              <a:rPr lang="en-US"/>
              <a:t>Entry point should be a high grossing genre that hasn’t been overexposed from 2010-2018</a:t>
            </a:r>
          </a:p>
          <a:p>
            <a:endParaRPr lang="en-US"/>
          </a:p>
          <a:p>
            <a:r>
              <a:rPr lang="en-US"/>
              <a:t>Compare to the previous figures, while action, adventure, sci-fi is the highest grossing genre, it is also one of the over saturated one.</a:t>
            </a:r>
          </a:p>
          <a:p>
            <a:r>
              <a:rPr lang="en-US"/>
              <a:t>On the other hand, Action, crime, drama is 10</a:t>
            </a:r>
            <a:r>
              <a:rPr lang="en-US" baseline="30000"/>
              <a:t>th</a:t>
            </a:r>
            <a:r>
              <a:rPr lang="en-US"/>
              <a:t> place in last slides while it is placed in 6</a:t>
            </a:r>
            <a:r>
              <a:rPr lang="en-US" baseline="30000"/>
              <a:t>th</a:t>
            </a:r>
            <a:r>
              <a:rPr lang="en-US"/>
              <a:t> grossing genres.</a:t>
            </a:r>
          </a:p>
          <a:p>
            <a:r>
              <a:rPr lang="en-US"/>
              <a:t>Action, adventure, fantasy is 9</a:t>
            </a:r>
            <a:r>
              <a:rPr lang="en-US" baseline="30000"/>
              <a:t>th</a:t>
            </a:r>
            <a:r>
              <a:rPr lang="en-US"/>
              <a:t> place in last slides while it is placed in 3</a:t>
            </a:r>
            <a:r>
              <a:rPr lang="en-US" baseline="30000"/>
              <a:t>rd</a:t>
            </a:r>
            <a:r>
              <a:rPr lang="en-US"/>
              <a:t> grossing genres</a:t>
            </a:r>
          </a:p>
          <a:p>
            <a:endParaRPr lang="en-US"/>
          </a:p>
          <a:p>
            <a:r>
              <a:rPr lang="en-US"/>
              <a:t>Action, adventure, fantasy and action, crime, drama are quality candidates</a:t>
            </a:r>
          </a:p>
          <a:p>
            <a:r>
              <a:rPr lang="en-US"/>
              <a:t>&lt;next slide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ACBF0-03D0-42DD-80FB-1A2B65B758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208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is the box diagram that shows the frequency of each genres through out 2011 to 2018</a:t>
            </a:r>
          </a:p>
          <a:p>
            <a:endParaRPr lang="en-US"/>
          </a:p>
          <a:p>
            <a:r>
              <a:rPr lang="en-US"/>
              <a:t>Action, adventure, fantasy movies show that frequency is increasing throughout time</a:t>
            </a:r>
          </a:p>
          <a:p>
            <a:r>
              <a:rPr lang="en-US"/>
              <a:t>Action, crime, drama movies show that frequency is stable through out time or we could even say that it is increasing towards 2017 to 2018</a:t>
            </a:r>
          </a:p>
          <a:p>
            <a:endParaRPr lang="en-US"/>
          </a:p>
          <a:p>
            <a:r>
              <a:rPr lang="en-US"/>
              <a:t>As a reference, action, adventure, fantasy movie includes Batman, Thor, and Doctor Strange</a:t>
            </a:r>
          </a:p>
          <a:p>
            <a:r>
              <a:rPr lang="en-US"/>
              <a:t>Action, crime, drama movie includes Baby Driver that released in 2017, Contraband from 2012</a:t>
            </a:r>
          </a:p>
          <a:p>
            <a:r>
              <a:rPr lang="en-US"/>
              <a:t>Now I will hand it over to Mason</a:t>
            </a:r>
          </a:p>
          <a:p>
            <a:endParaRPr lang="en-US"/>
          </a:p>
          <a:p>
            <a:r>
              <a:rPr lang="en-US"/>
              <a:t>&lt;next slide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ACBF0-03D0-42DD-80FB-1A2B65B758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59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597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451500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208752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77368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143484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2401643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939227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351381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3449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7505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5254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1414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819104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699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987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0372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463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1906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5901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12238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4369305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67358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075280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90788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975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237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92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879218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36553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04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.png"/><Relationship Id="rId5" Type="http://schemas.openxmlformats.org/officeDocument/2006/relationships/image" Target="../media/image18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www.imdb.com/" TargetMode="External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hyperlink" Target="https://www.the-numbers.com/" TargetMode="External"/><Relationship Id="rId4" Type="http://schemas.openxmlformats.org/officeDocument/2006/relationships/hyperlink" Target="https://www.themoviedb.org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403921"/>
            <a:ext cx="4446269" cy="895983"/>
          </a:xfrm>
        </p:spPr>
        <p:txBody>
          <a:bodyPr/>
          <a:lstStyle/>
          <a:p>
            <a:r>
              <a:rPr lang="en-US">
                <a:latin typeface="Calibri Light"/>
                <a:ea typeface="Open Sans"/>
                <a:cs typeface="Calibri Light"/>
              </a:rPr>
              <a:t>Computing Vision Market Entry Strategy 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C73BD3-CEF3-4392-A9E1-1E6D3419AF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6" name="Picture Placeholder 5" descr="A picture containing outdoor object, light, star, dark&#10;&#10;Description automatically generated">
            <a:extLst>
              <a:ext uri="{FF2B5EF4-FFF2-40B4-BE49-F238E27FC236}">
                <a16:creationId xmlns:a16="http://schemas.microsoft.com/office/drawing/2014/main" id="{09B54613-1452-40A6-B303-B014103E26F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>
          <a:xfrm>
            <a:off x="3396000" y="646095"/>
            <a:ext cx="5400000" cy="5400000"/>
          </a:xfr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6063E21-B589-43C7-BED5-F8003AA79F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</p:spPr>
        <p:txBody>
          <a:bodyPr/>
          <a:lstStyle/>
          <a:p>
            <a:r>
              <a:rPr lang="en-US">
                <a:latin typeface="Calibri"/>
                <a:cs typeface="Calibri"/>
              </a:rPr>
              <a:t>Pod 8: The Detroit L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32430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0FEE9-B395-B628-6E12-91BCF66D9A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0358" y="911935"/>
            <a:ext cx="5349128" cy="4206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solidFill>
                  <a:srgbClr val="313131"/>
                </a:solidFill>
                <a:ea typeface="+mn-lt"/>
                <a:cs typeface="+mn-lt"/>
              </a:rPr>
              <a:t>What movie genre will offer the most advantageous entry point into the market?</a:t>
            </a:r>
            <a:endParaRPr lang="en-US" sz="1600">
              <a:ea typeface="+mn-lt"/>
              <a:cs typeface="+mn-lt"/>
            </a:endParaRP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31774E-5D23-A1E6-1DB9-B5DBFA74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522357"/>
          </a:xfrm>
        </p:spPr>
        <p:txBody>
          <a:bodyPr/>
          <a:lstStyle/>
          <a:p>
            <a:r>
              <a:rPr lang="en-US" sz="4000">
                <a:cs typeface="Calibri Light"/>
              </a:rPr>
              <a:t>Data Analysis: Question 3 (cont.)</a:t>
            </a:r>
            <a:endParaRPr lang="en-US" sz="4000"/>
          </a:p>
        </p:txBody>
      </p:sp>
      <p:pic>
        <p:nvPicPr>
          <p:cNvPr id="12" name="Picture 4" descr="Circle&#10;&#10;Description automatically generated">
            <a:extLst>
              <a:ext uri="{FF2B5EF4-FFF2-40B4-BE49-F238E27FC236}">
                <a16:creationId xmlns:a16="http://schemas.microsoft.com/office/drawing/2014/main" id="{C5857B70-CCA1-7C79-E979-F14A0A9BA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56" y="6279580"/>
            <a:ext cx="1792941" cy="34045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E9A66C5-9E09-8BF3-8E72-98A5A0F96290}"/>
              </a:ext>
            </a:extLst>
          </p:cNvPr>
          <p:cNvSpPr txBox="1"/>
          <p:nvPr/>
        </p:nvSpPr>
        <p:spPr>
          <a:xfrm>
            <a:off x="6878268" y="2398053"/>
            <a:ext cx="4919382" cy="27546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b="1">
                <a:solidFill>
                  <a:schemeClr val="bg1"/>
                </a:solidFill>
                <a:cs typeface="Calibri"/>
              </a:rPr>
              <a:t>Insights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Entry point should be a high grossing genre that hasn't been overexposed from 2010-2018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While Action, Adventure, Sci-Fi is the highest grossing genre, it is an oversaturated one</a:t>
            </a:r>
            <a:endParaRPr lang="en-US">
              <a:solidFill>
                <a:schemeClr val="bg1"/>
              </a:solidFill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Action, Adventure, Fantasy and Action, Crime, Drama are quality candidates</a:t>
            </a:r>
          </a:p>
        </p:txBody>
      </p:sp>
      <p:pic>
        <p:nvPicPr>
          <p:cNvPr id="8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358E6AA4-BA57-3CD5-BA66-5EE13A4CC3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8862" y="1858387"/>
            <a:ext cx="4386263" cy="3430588"/>
          </a:xfrm>
          <a:prstGeom prst="rect">
            <a:avLst/>
          </a:prstGeom>
        </p:spPr>
      </p:pic>
      <p:pic>
        <p:nvPicPr>
          <p:cNvPr id="10" name="Picture 10" descr="A picture containing chart&#10;&#10;Description automatically generated">
            <a:extLst>
              <a:ext uri="{FF2B5EF4-FFF2-40B4-BE49-F238E27FC236}">
                <a16:creationId xmlns:a16="http://schemas.microsoft.com/office/drawing/2014/main" id="{F164E780-C8C8-59CB-D3B8-A89163D887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2904" y="1858387"/>
            <a:ext cx="4379913" cy="3430588"/>
          </a:xfrm>
          <a:prstGeom prst="rect">
            <a:avLst/>
          </a:prstGeom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D7050935-7036-3169-D1E9-AF8CD2EB3C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9906" y="6311670"/>
            <a:ext cx="3137647" cy="50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21470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E31774E-5D23-A1E6-1DB9-B5DBFA74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522357"/>
          </a:xfrm>
        </p:spPr>
        <p:txBody>
          <a:bodyPr/>
          <a:lstStyle/>
          <a:p>
            <a:r>
              <a:rPr lang="en-US" sz="4000">
                <a:cs typeface="Calibri Light"/>
              </a:rPr>
              <a:t>Top 10 Genres with Grossing Genres</a:t>
            </a:r>
            <a:endParaRPr lang="en-US" sz="4000"/>
          </a:p>
        </p:txBody>
      </p:sp>
      <p:pic>
        <p:nvPicPr>
          <p:cNvPr id="11" name="Picture 4" descr="Circle&#10;&#10;Description automatically generated">
            <a:extLst>
              <a:ext uri="{FF2B5EF4-FFF2-40B4-BE49-F238E27FC236}">
                <a16:creationId xmlns:a16="http://schemas.microsoft.com/office/drawing/2014/main" id="{0A303495-2525-B2E2-B93E-A528666FE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156" y="6279580"/>
            <a:ext cx="1792941" cy="340456"/>
          </a:xfrm>
          <a:prstGeom prst="rect">
            <a:avLst/>
          </a:prstGeo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AE1950A6-92BC-49F8-BEB2-3B599BB0A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127" y="1945854"/>
            <a:ext cx="5898873" cy="29951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2150D2-504F-4133-8C91-8611B41BCB7E}"/>
              </a:ext>
            </a:extLst>
          </p:cNvPr>
          <p:cNvSpPr/>
          <p:nvPr/>
        </p:nvSpPr>
        <p:spPr bwMode="gray">
          <a:xfrm>
            <a:off x="6459183" y="2665235"/>
            <a:ext cx="1492180" cy="227764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C3CE16-487E-475E-A829-6E778CED149A}"/>
              </a:ext>
            </a:extLst>
          </p:cNvPr>
          <p:cNvSpPr/>
          <p:nvPr/>
        </p:nvSpPr>
        <p:spPr bwMode="gray">
          <a:xfrm>
            <a:off x="6459184" y="3343499"/>
            <a:ext cx="1492180" cy="227764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4" name="Picture 9" descr="Chart&#10;&#10;Description automatically generated">
            <a:extLst>
              <a:ext uri="{FF2B5EF4-FFF2-40B4-BE49-F238E27FC236}">
                <a16:creationId xmlns:a16="http://schemas.microsoft.com/office/drawing/2014/main" id="{399C4636-88C0-4EDF-ABC3-46EE774FC8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8854" y="1916974"/>
            <a:ext cx="5707466" cy="3024052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7C7AEC73-2614-83DB-6B75-13B9A447B2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9906" y="6311670"/>
            <a:ext cx="3137647" cy="50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9628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ja-JP" sz="3200">
                <a:cs typeface="Calibri Light"/>
              </a:rPr>
              <a:t>Recommendations</a:t>
            </a:r>
            <a:endParaRPr lang="en-US"/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4788" y="1461218"/>
            <a:ext cx="4547057" cy="1330325"/>
          </a:xfrm>
          <a:prstGeom prst="homePlate">
            <a:avLst>
              <a:gd name="adj" fmla="val 22028"/>
            </a:avLst>
          </a:prstGeom>
          <a:solidFill>
            <a:schemeClr val="tx1"/>
          </a:solidFill>
          <a:ln>
            <a:noFill/>
          </a:ln>
        </p:spPr>
        <p:txBody>
          <a:bodyPr wrap="square" lIns="88900" tIns="88900" rIns="88900" bIns="88900" anchor="t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 charset="0"/>
              <a:buNone/>
              <a:tabLst/>
              <a:defRPr/>
            </a:pPr>
            <a:endParaRPr lang="en-US" sz="13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j-ea"/>
              <a:cs typeface="Arial" charset="0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4788" y="2922189"/>
            <a:ext cx="4547057" cy="1330325"/>
          </a:xfrm>
          <a:prstGeom prst="homePlate">
            <a:avLst>
              <a:gd name="adj" fmla="val 22028"/>
            </a:avLst>
          </a:prstGeom>
          <a:solidFill>
            <a:schemeClr val="tx1"/>
          </a:solidFill>
          <a:ln>
            <a:noFill/>
          </a:ln>
        </p:spPr>
        <p:txBody>
          <a:bodyPr wrap="square" lIns="88900" tIns="88900" rIns="88900" bIns="88900" anchor="t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 charset="0"/>
              <a:buNone/>
              <a:tabLst/>
              <a:defRPr/>
            </a:pPr>
            <a:endParaRPr lang="en-US" sz="13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j-ea"/>
              <a:cs typeface="Arial" charset="0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4788" y="4383160"/>
            <a:ext cx="4547057" cy="1330325"/>
          </a:xfrm>
          <a:prstGeom prst="homePlate">
            <a:avLst>
              <a:gd name="adj" fmla="val 22028"/>
            </a:avLst>
          </a:prstGeom>
          <a:solidFill>
            <a:schemeClr val="tx1"/>
          </a:solidFill>
          <a:ln>
            <a:noFill/>
          </a:ln>
        </p:spPr>
        <p:txBody>
          <a:bodyPr wrap="square" lIns="88900" tIns="88900" rIns="88900" bIns="88900" anchor="t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 charset="0"/>
              <a:buNone/>
              <a:tabLst/>
              <a:defRPr/>
            </a:pPr>
            <a:endParaRPr lang="en-US" sz="13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j-ea"/>
              <a:cs typeface="Arial" charset="0"/>
            </a:endParaRP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 flipH="1">
            <a:off x="7305518" y="2690277"/>
            <a:ext cx="4538775" cy="1785867"/>
          </a:xfrm>
          <a:prstGeom prst="homePlate">
            <a:avLst>
              <a:gd name="adj" fmla="val 22028"/>
            </a:avLst>
          </a:prstGeom>
          <a:solidFill>
            <a:schemeClr val="accent2"/>
          </a:solidFill>
          <a:ln>
            <a:noFill/>
          </a:ln>
        </p:spPr>
        <p:txBody>
          <a:bodyPr wrap="square" lIns="274320" tIns="88900" rIns="88900" bIns="88900" anchor="t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726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 charset="0"/>
              <a:buNone/>
              <a:tabLst/>
              <a:defRPr/>
            </a:pPr>
            <a:endParaRPr lang="en-US" sz="13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j-ea"/>
              <a:cs typeface="Arial" charset="0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9640E3EB-49AA-1BB9-145E-1FF25FFED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12" y="6311670"/>
            <a:ext cx="2743200" cy="509954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23BB4C79-1346-0860-77BF-8374C90B17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906" y="6311670"/>
            <a:ext cx="3200400" cy="509954"/>
          </a:xfrm>
          <a:prstGeom prst="rect">
            <a:avLst/>
          </a:prstGeom>
        </p:spPr>
      </p:pic>
      <p:pic>
        <p:nvPicPr>
          <p:cNvPr id="10" name="Picture 4" descr="Circle&#10;&#10;Description automatically generated">
            <a:extLst>
              <a:ext uri="{FF2B5EF4-FFF2-40B4-BE49-F238E27FC236}">
                <a16:creationId xmlns:a16="http://schemas.microsoft.com/office/drawing/2014/main" id="{7C02A010-E190-6841-FA1F-69F275232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57" y="6279579"/>
            <a:ext cx="1792941" cy="34045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882C1E-3F46-B21B-670C-CA43D5815F8F}"/>
              </a:ext>
            </a:extLst>
          </p:cNvPr>
          <p:cNvSpPr txBox="1"/>
          <p:nvPr/>
        </p:nvSpPr>
        <p:spPr>
          <a:xfrm>
            <a:off x="1564593" y="1684291"/>
            <a:ext cx="3109691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Having a budget greater than the median will most likely generate higher revenue.</a:t>
            </a:r>
            <a:endParaRPr lang="en-US">
              <a:solidFill>
                <a:schemeClr val="bg1"/>
              </a:solidFill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B7C34D-E025-01B9-84EC-4FAA7FBD4587}"/>
              </a:ext>
            </a:extLst>
          </p:cNvPr>
          <p:cNvSpPr txBox="1"/>
          <p:nvPr/>
        </p:nvSpPr>
        <p:spPr>
          <a:xfrm>
            <a:off x="1565412" y="3278386"/>
            <a:ext cx="318623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8 out of 10 most popular genres blend elements of multiple genr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BD752C-3B6D-23A1-DBB7-C362B79B6CB6}"/>
              </a:ext>
            </a:extLst>
          </p:cNvPr>
          <p:cNvSpPr txBox="1"/>
          <p:nvPr/>
        </p:nvSpPr>
        <p:spPr>
          <a:xfrm>
            <a:off x="7843631" y="2992591"/>
            <a:ext cx="3684046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The Action, Adventure, Fantasy and Action, Crime, Drama genres offer the best opportunity to successfully break into the film industry</a:t>
            </a:r>
          </a:p>
        </p:txBody>
      </p:sp>
      <p:pic>
        <p:nvPicPr>
          <p:cNvPr id="12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6743DCB-F8F7-01AE-BDD8-F85207D09A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717" y="3276272"/>
            <a:ext cx="397704" cy="615923"/>
          </a:xfrm>
          <a:prstGeom prst="rect">
            <a:avLst/>
          </a:prstGeom>
          <a:ln>
            <a:noFill/>
          </a:ln>
        </p:spPr>
      </p:pic>
      <p:pic>
        <p:nvPicPr>
          <p:cNvPr id="21" name="Picture 10" descr="Icon&#10;&#10;Description automatically generated">
            <a:extLst>
              <a:ext uri="{FF2B5EF4-FFF2-40B4-BE49-F238E27FC236}">
                <a16:creationId xmlns:a16="http://schemas.microsoft.com/office/drawing/2014/main" id="{6C89954F-4CC6-F113-4950-ACB90AB8E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679" y="4742086"/>
            <a:ext cx="605875" cy="621198"/>
          </a:xfrm>
          <a:prstGeom prst="rect">
            <a:avLst/>
          </a:prstGeom>
        </p:spPr>
      </p:pic>
      <p:pic>
        <p:nvPicPr>
          <p:cNvPr id="23" name="Picture 12" descr="Icon&#10;&#10;Description automatically generated">
            <a:extLst>
              <a:ext uri="{FF2B5EF4-FFF2-40B4-BE49-F238E27FC236}">
                <a16:creationId xmlns:a16="http://schemas.microsoft.com/office/drawing/2014/main" id="{412F94FC-7CBD-D763-54EA-A6455B85A4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285" y="1822847"/>
            <a:ext cx="604630" cy="604630"/>
          </a:xfrm>
          <a:prstGeom prst="rect">
            <a:avLst/>
          </a:prstGeom>
        </p:spPr>
      </p:pic>
      <p:cxnSp>
        <p:nvCxnSpPr>
          <p:cNvPr id="29" name="Connector: Curved 28">
            <a:extLst>
              <a:ext uri="{FF2B5EF4-FFF2-40B4-BE49-F238E27FC236}">
                <a16:creationId xmlns:a16="http://schemas.microsoft.com/office/drawing/2014/main" id="{6F9ACA37-DA04-A97C-88BB-6968225A4279}"/>
              </a:ext>
            </a:extLst>
          </p:cNvPr>
          <p:cNvCxnSpPr/>
          <p:nvPr/>
        </p:nvCxnSpPr>
        <p:spPr>
          <a:xfrm>
            <a:off x="5138416" y="2125831"/>
            <a:ext cx="1585291" cy="914400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0" name="Connector: Curved 29">
            <a:extLst>
              <a:ext uri="{FF2B5EF4-FFF2-40B4-BE49-F238E27FC236}">
                <a16:creationId xmlns:a16="http://schemas.microsoft.com/office/drawing/2014/main" id="{83F49D59-2DEA-86B8-A84E-47F7AD97701F}"/>
              </a:ext>
            </a:extLst>
          </p:cNvPr>
          <p:cNvCxnSpPr>
            <a:cxnSpLocks/>
          </p:cNvCxnSpPr>
          <p:nvPr/>
        </p:nvCxnSpPr>
        <p:spPr>
          <a:xfrm flipV="1">
            <a:off x="5138416" y="4001014"/>
            <a:ext cx="1651551" cy="1048578"/>
          </a:xfrm>
          <a:prstGeom prst="curvedConnector3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9043D56-A589-6A2B-87CB-A940B1E14CC0}"/>
              </a:ext>
            </a:extLst>
          </p:cNvPr>
          <p:cNvCxnSpPr/>
          <p:nvPr/>
        </p:nvCxnSpPr>
        <p:spPr>
          <a:xfrm flipV="1">
            <a:off x="5231596" y="3572389"/>
            <a:ext cx="1651552" cy="132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79FFC5F-5EB3-0BA1-D9FB-C2EC6D81CC8D}"/>
              </a:ext>
            </a:extLst>
          </p:cNvPr>
          <p:cNvSpPr txBox="1"/>
          <p:nvPr/>
        </p:nvSpPr>
        <p:spPr>
          <a:xfrm>
            <a:off x="1565412" y="4482994"/>
            <a:ext cx="3109691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The market for Action, Adventure, Fantasy and Action, Crime, Drama are trending upwards</a:t>
            </a:r>
          </a:p>
          <a:p>
            <a:endParaRPr lang="en-US" i="1">
              <a:solidFill>
                <a:schemeClr val="bg1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560332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cs typeface="Calibri Light"/>
              </a:rPr>
              <a:t>Next Steps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491490" y="1463609"/>
            <a:ext cx="1317942" cy="69342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491490" y="2378009"/>
            <a:ext cx="1317942" cy="69342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491490" y="3277169"/>
            <a:ext cx="1317942" cy="693420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491490" y="4191569"/>
            <a:ext cx="1317942" cy="69342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491490" y="5093905"/>
            <a:ext cx="1317942" cy="69342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Isosceles Triangle 131"/>
          <p:cNvSpPr/>
          <p:nvPr/>
        </p:nvSpPr>
        <p:spPr>
          <a:xfrm rot="16200000">
            <a:off x="1431133" y="3592287"/>
            <a:ext cx="246381" cy="510222"/>
          </a:xfrm>
          <a:prstGeom prst="triangle">
            <a:avLst/>
          </a:prstGeom>
          <a:solidFill>
            <a:schemeClr val="accent4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3" name="Round Same Side Corner Rectangle 132"/>
          <p:cNvSpPr/>
          <p:nvPr/>
        </p:nvSpPr>
        <p:spPr>
          <a:xfrm rot="5400000">
            <a:off x="5941519" y="-1484518"/>
            <a:ext cx="673101" cy="9957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4" name="Isosceles Triangle 133"/>
          <p:cNvSpPr/>
          <p:nvPr/>
        </p:nvSpPr>
        <p:spPr>
          <a:xfrm rot="16200000">
            <a:off x="1416846" y="4492401"/>
            <a:ext cx="274956" cy="510222"/>
          </a:xfrm>
          <a:prstGeom prst="triangle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Round Same Side Corner Rectangle 134"/>
          <p:cNvSpPr/>
          <p:nvPr/>
        </p:nvSpPr>
        <p:spPr>
          <a:xfrm rot="5400000">
            <a:off x="5941519" y="-582183"/>
            <a:ext cx="673101" cy="9957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Isosceles Triangle 135"/>
          <p:cNvSpPr/>
          <p:nvPr/>
        </p:nvSpPr>
        <p:spPr>
          <a:xfrm rot="16200000">
            <a:off x="1416842" y="5389977"/>
            <a:ext cx="274956" cy="510222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ound Same Side Corner Rectangle 136"/>
          <p:cNvSpPr/>
          <p:nvPr/>
        </p:nvSpPr>
        <p:spPr>
          <a:xfrm rot="5400000">
            <a:off x="5941519" y="320152"/>
            <a:ext cx="673101" cy="9957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Isosceles Triangle 137"/>
          <p:cNvSpPr/>
          <p:nvPr/>
        </p:nvSpPr>
        <p:spPr>
          <a:xfrm rot="16200000">
            <a:off x="1431134" y="2693127"/>
            <a:ext cx="246381" cy="510222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Round Same Side Corner Rectangle 138"/>
          <p:cNvSpPr/>
          <p:nvPr/>
        </p:nvSpPr>
        <p:spPr>
          <a:xfrm rot="5400000">
            <a:off x="5941519" y="-2386854"/>
            <a:ext cx="673101" cy="9957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0" name="Isosceles Triangle 139"/>
          <p:cNvSpPr/>
          <p:nvPr/>
        </p:nvSpPr>
        <p:spPr>
          <a:xfrm rot="16200000">
            <a:off x="1431135" y="1778727"/>
            <a:ext cx="246381" cy="510222"/>
          </a:xfrm>
          <a:prstGeom prst="triangle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1" name="Round Same Side Corner Rectangle 140"/>
          <p:cNvSpPr/>
          <p:nvPr/>
        </p:nvSpPr>
        <p:spPr>
          <a:xfrm rot="5400000">
            <a:off x="5941519" y="-3289189"/>
            <a:ext cx="673101" cy="995771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550376" y="1427161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550376" y="2355611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550376" y="3254771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550376" y="4169171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550376" y="5067145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1468755" y="1390205"/>
            <a:ext cx="9041940" cy="1538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1468755" y="2287770"/>
            <a:ext cx="9041940" cy="1538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468755" y="3183178"/>
            <a:ext cx="9041940" cy="1538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468755" y="4100059"/>
            <a:ext cx="9041940" cy="1538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468755" y="4997792"/>
            <a:ext cx="9041940" cy="1538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12F3718E-4EEA-A09C-6B84-15E1BD24F3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012" y="6311670"/>
            <a:ext cx="2743200" cy="509954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41C0885F-28DF-B83A-2E12-7C10E1D0FC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906" y="6311670"/>
            <a:ext cx="3218329" cy="509954"/>
          </a:xfrm>
          <a:prstGeom prst="rect">
            <a:avLst/>
          </a:prstGeom>
        </p:spPr>
      </p:pic>
      <p:pic>
        <p:nvPicPr>
          <p:cNvPr id="10" name="Picture 4" descr="Circle&#10;&#10;Description automatically generated">
            <a:extLst>
              <a:ext uri="{FF2B5EF4-FFF2-40B4-BE49-F238E27FC236}">
                <a16:creationId xmlns:a16="http://schemas.microsoft.com/office/drawing/2014/main" id="{1FAAE5D5-5F20-6C77-FA1C-CA3C20B5DB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157" y="6279579"/>
            <a:ext cx="1792941" cy="3404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39FE45-2A4F-0224-4E18-4B83161A20C8}"/>
              </a:ext>
            </a:extLst>
          </p:cNvPr>
          <p:cNvSpPr txBox="1"/>
          <p:nvPr/>
        </p:nvSpPr>
        <p:spPr>
          <a:xfrm>
            <a:off x="1622092" y="1539667"/>
            <a:ext cx="641073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>
                <a:solidFill>
                  <a:schemeClr val="bg1"/>
                </a:solidFill>
                <a:cs typeface="Calibri"/>
              </a:rPr>
              <a:t>Based on our research, choose the genre for the movi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CD6658-74C5-62ED-5FF1-DF8AE9831676}"/>
              </a:ext>
            </a:extLst>
          </p:cNvPr>
          <p:cNvSpPr txBox="1"/>
          <p:nvPr/>
        </p:nvSpPr>
        <p:spPr>
          <a:xfrm>
            <a:off x="1623389" y="2443368"/>
            <a:ext cx="7603434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Generate the storyline and script, conduct market research on idea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0CC914-44E5-BB8B-9745-49FA88A0F69A}"/>
              </a:ext>
            </a:extLst>
          </p:cNvPr>
          <p:cNvSpPr txBox="1"/>
          <p:nvPr/>
        </p:nvSpPr>
        <p:spPr>
          <a:xfrm>
            <a:off x="1623390" y="3337891"/>
            <a:ext cx="641073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Set production budget and research directors and actors/actres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B0ABB1-A1DD-B388-6B30-1455CD3F7725}"/>
              </a:ext>
            </a:extLst>
          </p:cNvPr>
          <p:cNvSpPr txBox="1"/>
          <p:nvPr/>
        </p:nvSpPr>
        <p:spPr>
          <a:xfrm>
            <a:off x="1623389" y="4257260"/>
            <a:ext cx="641073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Produce movi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DC8EF3-DD2E-1F37-99F3-E1E63E62C785}"/>
              </a:ext>
            </a:extLst>
          </p:cNvPr>
          <p:cNvSpPr txBox="1"/>
          <p:nvPr/>
        </p:nvSpPr>
        <p:spPr>
          <a:xfrm>
            <a:off x="1622292" y="5145295"/>
            <a:ext cx="802584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Conduct research on methods of release (Theaters, streaming, TV, etc.)</a:t>
            </a:r>
          </a:p>
        </p:txBody>
      </p:sp>
    </p:spTree>
    <p:extLst>
      <p:ext uri="{BB962C8B-B14F-4D97-AF65-F5344CB8AC3E}">
        <p14:creationId xmlns:p14="http://schemas.microsoft.com/office/powerpoint/2010/main" val="380142519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CCB6501-7E75-3FFB-2F7A-7BCA8C920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346" y="2618598"/>
            <a:ext cx="7287203" cy="1624852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6000" b="1">
                <a:latin typeface="Calibri"/>
                <a:ea typeface="Open Sans"/>
                <a:cs typeface="Calibri Light"/>
              </a:rPr>
              <a:t>Thank you! Questions?</a:t>
            </a:r>
            <a:endParaRPr lang="en-US" sz="6000" b="1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90930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B9048D-FF26-B68A-452B-580E9E1CF0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2728" y="907284"/>
            <a:ext cx="4446269" cy="895983"/>
          </a:xfrm>
          <a:noFill/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4400">
                <a:solidFill>
                  <a:schemeClr val="accent2"/>
                </a:solidFill>
                <a:latin typeface="Calibri"/>
                <a:ea typeface="Open Sans"/>
                <a:cs typeface="Calibri Light"/>
              </a:rPr>
              <a:t>Meet the Team!</a:t>
            </a:r>
            <a:endParaRPr lang="en-US" sz="4400">
              <a:solidFill>
                <a:schemeClr val="accent2"/>
              </a:solidFill>
              <a:latin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ADC112C-A4A2-D6FA-40CD-337B996D725A}"/>
              </a:ext>
            </a:extLst>
          </p:cNvPr>
          <p:cNvGrpSpPr/>
          <p:nvPr/>
        </p:nvGrpSpPr>
        <p:grpSpPr>
          <a:xfrm>
            <a:off x="740821" y="2056513"/>
            <a:ext cx="10719911" cy="3158531"/>
            <a:chOff x="1343130" y="1598524"/>
            <a:chExt cx="9438748" cy="2681235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EBC535D-7265-7AB2-22FD-24894D6A4824}"/>
                </a:ext>
              </a:extLst>
            </p:cNvPr>
            <p:cNvGrpSpPr/>
            <p:nvPr/>
          </p:nvGrpSpPr>
          <p:grpSpPr>
            <a:xfrm>
              <a:off x="1343130" y="1598524"/>
              <a:ext cx="9438748" cy="2681235"/>
              <a:chOff x="622998" y="1715755"/>
              <a:chExt cx="8157585" cy="2128576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B5E6BCE-4CF3-AD3A-A3BE-86A1AB179E59}"/>
                  </a:ext>
                </a:extLst>
              </p:cNvPr>
              <p:cNvSpPr/>
              <p:nvPr/>
            </p:nvSpPr>
            <p:spPr bwMode="gray">
              <a:xfrm>
                <a:off x="622998" y="1715756"/>
                <a:ext cx="1902487" cy="2128575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C4AC014-D135-C6C6-0797-43DFD3FDF1B9}"/>
                  </a:ext>
                </a:extLst>
              </p:cNvPr>
              <p:cNvSpPr/>
              <p:nvPr/>
            </p:nvSpPr>
            <p:spPr bwMode="gray">
              <a:xfrm>
                <a:off x="2708031" y="1715755"/>
                <a:ext cx="1902487" cy="2128575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7A5245B0-9F55-C477-AC71-B50FFAE228F4}"/>
                  </a:ext>
                </a:extLst>
              </p:cNvPr>
              <p:cNvSpPr/>
              <p:nvPr/>
            </p:nvSpPr>
            <p:spPr bwMode="gray">
              <a:xfrm>
                <a:off x="4793063" y="1715756"/>
                <a:ext cx="1902487" cy="2128575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EAD93B20-24FD-BD71-62F8-B1A74CD97023}"/>
                  </a:ext>
                </a:extLst>
              </p:cNvPr>
              <p:cNvSpPr/>
              <p:nvPr/>
            </p:nvSpPr>
            <p:spPr bwMode="gray">
              <a:xfrm>
                <a:off x="6878096" y="1715755"/>
                <a:ext cx="1902487" cy="2128575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2" name="Picture 12">
              <a:extLst>
                <a:ext uri="{FF2B5EF4-FFF2-40B4-BE49-F238E27FC236}">
                  <a16:creationId xmlns:a16="http://schemas.microsoft.com/office/drawing/2014/main" id="{2BB09738-6B71-5189-26CB-0D190C515B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" r="-408" b="996"/>
            <a:stretch/>
          </p:blipFill>
          <p:spPr>
            <a:xfrm>
              <a:off x="1416817" y="1671320"/>
              <a:ext cx="2064956" cy="2145716"/>
            </a:xfrm>
            <a:prstGeom prst="rect">
              <a:avLst/>
            </a:prstGeom>
          </p:spPr>
        </p:pic>
        <p:pic>
          <p:nvPicPr>
            <p:cNvPr id="13" name="Picture 13">
              <a:extLst>
                <a:ext uri="{FF2B5EF4-FFF2-40B4-BE49-F238E27FC236}">
                  <a16:creationId xmlns:a16="http://schemas.microsoft.com/office/drawing/2014/main" id="{6036385F-3658-3134-A38F-6228D50F38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122" r="-418" b="14990"/>
            <a:stretch/>
          </p:blipFill>
          <p:spPr>
            <a:xfrm>
              <a:off x="3842728" y="1666351"/>
              <a:ext cx="2017163" cy="2155464"/>
            </a:xfrm>
            <a:prstGeom prst="rect">
              <a:avLst/>
            </a:prstGeom>
          </p:spPr>
        </p:pic>
        <p:pic>
          <p:nvPicPr>
            <p:cNvPr id="15" name="Picture 14" descr="A picture containing person, wall, indoor, posing&#10;&#10;Description automatically generated">
              <a:extLst>
                <a:ext uri="{FF2B5EF4-FFF2-40B4-BE49-F238E27FC236}">
                  <a16:creationId xmlns:a16="http://schemas.microsoft.com/office/drawing/2014/main" id="{692670B1-86E5-4C1B-80A0-BB7D22B45C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011" b="5404"/>
            <a:stretch/>
          </p:blipFill>
          <p:spPr>
            <a:xfrm>
              <a:off x="6271080" y="1671320"/>
              <a:ext cx="2018354" cy="2149516"/>
            </a:xfrm>
            <a:prstGeom prst="rect">
              <a:avLst/>
            </a:prstGeom>
          </p:spPr>
        </p:pic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28BE866F-D2AB-B00B-6902-1AA1D86246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7241" b="11864"/>
            <a:stretch/>
          </p:blipFill>
          <p:spPr>
            <a:xfrm>
              <a:off x="8650850" y="1666351"/>
              <a:ext cx="2002859" cy="2148526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9F2A90C-FB2E-9369-F302-4F09D5FAA2CC}"/>
              </a:ext>
            </a:extLst>
          </p:cNvPr>
          <p:cNvSpPr txBox="1"/>
          <p:nvPr/>
        </p:nvSpPr>
        <p:spPr>
          <a:xfrm>
            <a:off x="896569" y="4761441"/>
            <a:ext cx="215202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>
                <a:solidFill>
                  <a:schemeClr val="bg1"/>
                </a:solidFill>
                <a:cs typeface="Calibri"/>
              </a:rPr>
              <a:t>Mason Wagner</a:t>
            </a:r>
            <a:endParaRPr lang="en-US"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290A8E-783C-A952-8223-175ACBB04A5A}"/>
              </a:ext>
            </a:extLst>
          </p:cNvPr>
          <p:cNvSpPr txBox="1"/>
          <p:nvPr/>
        </p:nvSpPr>
        <p:spPr>
          <a:xfrm>
            <a:off x="9146364" y="4762536"/>
            <a:ext cx="215202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>
                <a:solidFill>
                  <a:schemeClr val="bg1"/>
                </a:solidFill>
                <a:cs typeface="Calibri"/>
              </a:rPr>
              <a:t>Luis Fernando Sarach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27C810-7C5A-E91E-ED19-5E86BFF18D96}"/>
              </a:ext>
            </a:extLst>
          </p:cNvPr>
          <p:cNvSpPr txBox="1"/>
          <p:nvPr/>
        </p:nvSpPr>
        <p:spPr>
          <a:xfrm>
            <a:off x="6399814" y="4761441"/>
            <a:ext cx="215202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Sara Yun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717360-BD49-B21A-A73B-76D955CED601}"/>
              </a:ext>
            </a:extLst>
          </p:cNvPr>
          <p:cNvSpPr txBox="1"/>
          <p:nvPr/>
        </p:nvSpPr>
        <p:spPr>
          <a:xfrm>
            <a:off x="3583911" y="4761440"/>
            <a:ext cx="215202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>
                <a:solidFill>
                  <a:schemeClr val="bg1"/>
                </a:solidFill>
                <a:cs typeface="Calibri"/>
              </a:rPr>
              <a:t>Alex Cathcart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8272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400">
                <a:cs typeface="Calibri Light"/>
              </a:rPr>
              <a:t>Overview</a:t>
            </a:r>
            <a:endParaRPr lang="en-GB">
              <a:cs typeface="Calibri Ligh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40903" y="1854938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lang="en-GB" b="1">
                <a:solidFill>
                  <a:srgbClr val="26890D"/>
                </a:solidFill>
                <a:latin typeface="Calibri"/>
              </a:rPr>
              <a:t>Industry Overview </a:t>
            </a:r>
            <a:endParaRPr lang="en-GB" sz="1800" b="1" i="0" u="none" strike="noStrike" kern="1200" cap="none" spc="0" normalizeH="0" baseline="0" noProof="0">
              <a:ln>
                <a:noFill/>
              </a:ln>
              <a:solidFill>
                <a:srgbClr val="26890D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506096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506096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657077" y="1854938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3565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ommendation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713627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53565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4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506096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3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713627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5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713627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6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440903" y="3164024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lang="en-GB" b="1">
                <a:solidFill>
                  <a:srgbClr val="43B02A"/>
                </a:solidFill>
                <a:latin typeface="Calibri"/>
              </a:rPr>
              <a:t>Key Questions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657077" y="3164024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xt Steps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440903" y="4568595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lang="en-GB" b="1">
                <a:solidFill>
                  <a:srgbClr val="86BC25"/>
                </a:solidFill>
                <a:latin typeface="Calibri"/>
              </a:rPr>
              <a:t>Data Understanding &amp; Data Analysis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657077" y="456859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&amp;A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D2DD58EA-1FEE-26BF-E970-7EAFA45A03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12" y="6311670"/>
            <a:ext cx="2743200" cy="509954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4735AACF-605C-2863-2030-7E9048F0D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9554" y="6275811"/>
            <a:ext cx="3021105" cy="509954"/>
          </a:xfrm>
          <a:prstGeom prst="rect">
            <a:avLst/>
          </a:prstGeom>
        </p:spPr>
      </p:pic>
      <p:pic>
        <p:nvPicPr>
          <p:cNvPr id="6" name="Picture 4" descr="Circle&#10;&#10;Description automatically generated">
            <a:extLst>
              <a:ext uri="{FF2B5EF4-FFF2-40B4-BE49-F238E27FC236}">
                <a16:creationId xmlns:a16="http://schemas.microsoft.com/office/drawing/2014/main" id="{369CC356-940B-1556-F6C3-5DB45FF9D3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57" y="6279579"/>
            <a:ext cx="1792941" cy="34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05239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A picture containing person, curtain, person, indoor&#10;&#10;Description automatically generated">
            <a:extLst>
              <a:ext uri="{FF2B5EF4-FFF2-40B4-BE49-F238E27FC236}">
                <a16:creationId xmlns:a16="http://schemas.microsoft.com/office/drawing/2014/main" id="{A185D672-1C8A-058D-7D91-56DD28D26AB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501652" y="1718083"/>
            <a:ext cx="5355165" cy="3568599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D0A514-CF7A-14E6-B760-48163CF3D58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90498" y="2804100"/>
            <a:ext cx="5349128" cy="264807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500">
                <a:cs typeface="Calibri Light"/>
              </a:rPr>
              <a:t>According to IMDB revenue data:</a:t>
            </a:r>
            <a:endParaRPr lang="en-US" sz="1500"/>
          </a:p>
          <a:p>
            <a:pPr marL="425450" lvl="1">
              <a:buFont typeface="Arial"/>
              <a:buChar char="•"/>
            </a:pPr>
            <a:r>
              <a:rPr lang="en-US" sz="1500" b="0">
                <a:cs typeface="Calibri Light"/>
              </a:rPr>
              <a:t>As of 2018, the total market size was $</a:t>
            </a:r>
            <a:r>
              <a:rPr lang="en-US" sz="1500" b="0">
                <a:latin typeface="Calibri"/>
                <a:cs typeface="Calibri Light"/>
              </a:rPr>
              <a:t>83,438,773,511</a:t>
            </a:r>
          </a:p>
          <a:p>
            <a:pPr marL="425450" lvl="1">
              <a:buFont typeface="Arial"/>
              <a:buChar char="•"/>
            </a:pPr>
            <a:r>
              <a:rPr lang="en-US" sz="1500" b="0">
                <a:latin typeface="Calibri"/>
                <a:cs typeface="Calibri Light"/>
              </a:rPr>
              <a:t>20 companies hold a 97% market share</a:t>
            </a:r>
          </a:p>
          <a:p>
            <a:pPr lvl="4"/>
            <a:r>
              <a:rPr lang="en-US" sz="1500">
                <a:latin typeface="Calibri"/>
                <a:cs typeface="Calibri Light"/>
              </a:rPr>
              <a:t>Disney: 18%</a:t>
            </a:r>
          </a:p>
          <a:p>
            <a:pPr lvl="4"/>
            <a:r>
              <a:rPr lang="en-US" sz="1500">
                <a:latin typeface="Calibri"/>
                <a:cs typeface="Calibri Light"/>
              </a:rPr>
              <a:t>Warner Brothers: 17.1%</a:t>
            </a:r>
          </a:p>
          <a:p>
            <a:pPr lvl="4"/>
            <a:r>
              <a:rPr lang="en-US" sz="1500">
                <a:latin typeface="Calibri"/>
                <a:cs typeface="Calibri Light"/>
              </a:rPr>
              <a:t>Universal: 15.3%</a:t>
            </a:r>
          </a:p>
          <a:p>
            <a:pPr lvl="4"/>
            <a:r>
              <a:rPr lang="en-US" sz="1500">
                <a:latin typeface="Calibri"/>
                <a:cs typeface="Calibri Light"/>
              </a:rPr>
              <a:t>Fox Studios: 12.5%</a:t>
            </a:r>
          </a:p>
          <a:p>
            <a:pPr lvl="1"/>
            <a:endParaRPr lang="en-US" b="0">
              <a:latin typeface="Calibri"/>
              <a:cs typeface="Calibri Light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F6813EE-0735-E519-F75E-5CB8B320F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>
                <a:cs typeface="Calibri Light"/>
              </a:rPr>
              <a:t>Film Industry Overview</a:t>
            </a:r>
            <a:endParaRPr lang="en-US" sz="4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DFA5BF-711F-4500-5B49-07DEEEB5149E}"/>
              </a:ext>
            </a:extLst>
          </p:cNvPr>
          <p:cNvSpPr txBox="1"/>
          <p:nvPr/>
        </p:nvSpPr>
        <p:spPr>
          <a:xfrm>
            <a:off x="6188109" y="1867319"/>
            <a:ext cx="5400989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 sz="1500">
                <a:cs typeface="Calibri"/>
              </a:rPr>
              <a:t>The film industry comprises of film producing companies, studios, screenwriting, festivals, and actors/actresses who collaborate to produce media for the consumer.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1DA7D09F-B125-7BD1-4387-0E451122AA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906" y="6311670"/>
            <a:ext cx="3290047" cy="509954"/>
          </a:xfrm>
          <a:prstGeom prst="rect">
            <a:avLst/>
          </a:prstGeom>
        </p:spPr>
      </p:pic>
      <p:pic>
        <p:nvPicPr>
          <p:cNvPr id="14" name="Picture 7">
            <a:extLst>
              <a:ext uri="{FF2B5EF4-FFF2-40B4-BE49-F238E27FC236}">
                <a16:creationId xmlns:a16="http://schemas.microsoft.com/office/drawing/2014/main" id="{02AC1601-43B0-41F8-FF30-D1441A6B6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012" y="6311670"/>
            <a:ext cx="2743200" cy="509954"/>
          </a:xfrm>
          <a:prstGeom prst="rect">
            <a:avLst/>
          </a:prstGeom>
        </p:spPr>
      </p:pic>
      <p:pic>
        <p:nvPicPr>
          <p:cNvPr id="16" name="Picture 4" descr="Circle&#10;&#10;Description automatically generated">
            <a:extLst>
              <a:ext uri="{FF2B5EF4-FFF2-40B4-BE49-F238E27FC236}">
                <a16:creationId xmlns:a16="http://schemas.microsoft.com/office/drawing/2014/main" id="{192EC1AE-2B29-B9B5-309D-26D1B16448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157" y="6279579"/>
            <a:ext cx="1792941" cy="34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30915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2C0ACD-0D98-4DE6-9146-54BD5195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>
                <a:cs typeface="Calibri Light"/>
              </a:rPr>
              <a:t>Key Ques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83E7845-F5A4-435F-A034-85FE37A0D924}"/>
              </a:ext>
            </a:extLst>
          </p:cNvPr>
          <p:cNvSpPr/>
          <p:nvPr/>
        </p:nvSpPr>
        <p:spPr>
          <a:xfrm>
            <a:off x="2073098" y="4821748"/>
            <a:ext cx="9590901" cy="1170408"/>
          </a:xfrm>
          <a:prstGeom prst="rect">
            <a:avLst/>
          </a:prstGeom>
          <a:ln w="12700">
            <a:solidFill>
              <a:schemeClr val="accent4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E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Open Sans Semibold"/>
              <a:cs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6783977-F4C9-4789-B6EB-03F2478728D2}"/>
              </a:ext>
            </a:extLst>
          </p:cNvPr>
          <p:cNvSpPr/>
          <p:nvPr/>
        </p:nvSpPr>
        <p:spPr bwMode="gray">
          <a:xfrm>
            <a:off x="1562778" y="5102395"/>
            <a:ext cx="548640" cy="548640"/>
          </a:xfrm>
          <a:prstGeom prst="ellipse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0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404E68-8F6E-4415-B6E0-2E21A5998844}"/>
              </a:ext>
            </a:extLst>
          </p:cNvPr>
          <p:cNvSpPr/>
          <p:nvPr/>
        </p:nvSpPr>
        <p:spPr>
          <a:xfrm>
            <a:off x="2073098" y="3197205"/>
            <a:ext cx="9590901" cy="1265658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E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Open Sans Semibold"/>
              <a:cs typeface="Calibri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BB796F0-2DE6-45B1-851B-D8991F423CF4}"/>
              </a:ext>
            </a:extLst>
          </p:cNvPr>
          <p:cNvSpPr/>
          <p:nvPr/>
        </p:nvSpPr>
        <p:spPr bwMode="gray">
          <a:xfrm>
            <a:off x="1562778" y="3475986"/>
            <a:ext cx="548640" cy="54864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0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D23CFE-3F31-4BA9-B26F-B9B5B351518E}"/>
              </a:ext>
            </a:extLst>
          </p:cNvPr>
          <p:cNvSpPr/>
          <p:nvPr/>
        </p:nvSpPr>
        <p:spPr>
          <a:xfrm>
            <a:off x="2073098" y="1495696"/>
            <a:ext cx="9590901" cy="1415626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E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Open Sans Semibold"/>
              <a:cs typeface="Calibri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562778" y="1850583"/>
            <a:ext cx="548640" cy="548640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01</a:t>
            </a:r>
          </a:p>
        </p:txBody>
      </p:sp>
      <p:grpSp>
        <p:nvGrpSpPr>
          <p:cNvPr id="25" name="Group 360">
            <a:extLst>
              <a:ext uri="{FF2B5EF4-FFF2-40B4-BE49-F238E27FC236}">
                <a16:creationId xmlns:a16="http://schemas.microsoft.com/office/drawing/2014/main" id="{7B424503-728B-4986-8C7A-8D08147061B7}"/>
              </a:ext>
            </a:extLst>
          </p:cNvPr>
          <p:cNvGrpSpPr>
            <a:grpSpLocks/>
          </p:cNvGrpSpPr>
          <p:nvPr/>
        </p:nvGrpSpPr>
        <p:grpSpPr bwMode="auto">
          <a:xfrm>
            <a:off x="626147" y="1107961"/>
            <a:ext cx="640079" cy="640080"/>
            <a:chOff x="1935" y="1199"/>
            <a:chExt cx="341" cy="340"/>
          </a:xfrm>
          <a:solidFill>
            <a:schemeClr val="accent1"/>
          </a:solidFill>
        </p:grpSpPr>
        <p:sp>
          <p:nvSpPr>
            <p:cNvPr id="26" name="Freeform 361">
              <a:extLst>
                <a:ext uri="{FF2B5EF4-FFF2-40B4-BE49-F238E27FC236}">
                  <a16:creationId xmlns:a16="http://schemas.microsoft.com/office/drawing/2014/main" id="{0F846FC7-9C27-471C-904D-89B1E2A18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" y="1263"/>
              <a:ext cx="214" cy="206"/>
            </a:xfrm>
            <a:custGeom>
              <a:avLst/>
              <a:gdLst>
                <a:gd name="T0" fmla="*/ 257 w 321"/>
                <a:gd name="T1" fmla="*/ 309 h 310"/>
                <a:gd name="T2" fmla="*/ 251 w 321"/>
                <a:gd name="T3" fmla="*/ 308 h 310"/>
                <a:gd name="T4" fmla="*/ 161 w 321"/>
                <a:gd name="T5" fmla="*/ 257 h 310"/>
                <a:gd name="T6" fmla="*/ 70 w 321"/>
                <a:gd name="T7" fmla="*/ 308 h 310"/>
                <a:gd name="T8" fmla="*/ 58 w 321"/>
                <a:gd name="T9" fmla="*/ 307 h 310"/>
                <a:gd name="T10" fmla="*/ 54 w 321"/>
                <a:gd name="T11" fmla="*/ 296 h 310"/>
                <a:gd name="T12" fmla="*/ 74 w 321"/>
                <a:gd name="T13" fmla="*/ 195 h 310"/>
                <a:gd name="T14" fmla="*/ 4 w 321"/>
                <a:gd name="T15" fmla="*/ 125 h 310"/>
                <a:gd name="T16" fmla="*/ 1 w 321"/>
                <a:gd name="T17" fmla="*/ 113 h 310"/>
                <a:gd name="T18" fmla="*/ 10 w 321"/>
                <a:gd name="T19" fmla="*/ 106 h 310"/>
                <a:gd name="T20" fmla="*/ 111 w 321"/>
                <a:gd name="T21" fmla="*/ 96 h 310"/>
                <a:gd name="T22" fmla="*/ 151 w 321"/>
                <a:gd name="T23" fmla="*/ 6 h 310"/>
                <a:gd name="T24" fmla="*/ 161 w 321"/>
                <a:gd name="T25" fmla="*/ 0 h 310"/>
                <a:gd name="T26" fmla="*/ 170 w 321"/>
                <a:gd name="T27" fmla="*/ 6 h 310"/>
                <a:gd name="T28" fmla="*/ 211 w 321"/>
                <a:gd name="T29" fmla="*/ 96 h 310"/>
                <a:gd name="T30" fmla="*/ 311 w 321"/>
                <a:gd name="T31" fmla="*/ 106 h 310"/>
                <a:gd name="T32" fmla="*/ 320 w 321"/>
                <a:gd name="T33" fmla="*/ 113 h 310"/>
                <a:gd name="T34" fmla="*/ 318 w 321"/>
                <a:gd name="T35" fmla="*/ 125 h 310"/>
                <a:gd name="T36" fmla="*/ 247 w 321"/>
                <a:gd name="T37" fmla="*/ 195 h 310"/>
                <a:gd name="T38" fmla="*/ 267 w 321"/>
                <a:gd name="T39" fmla="*/ 296 h 310"/>
                <a:gd name="T40" fmla="*/ 263 w 321"/>
                <a:gd name="T41" fmla="*/ 307 h 310"/>
                <a:gd name="T42" fmla="*/ 257 w 321"/>
                <a:gd name="T43" fmla="*/ 309 h 310"/>
                <a:gd name="T44" fmla="*/ 161 w 321"/>
                <a:gd name="T45" fmla="*/ 234 h 310"/>
                <a:gd name="T46" fmla="*/ 166 w 321"/>
                <a:gd name="T47" fmla="*/ 236 h 310"/>
                <a:gd name="T48" fmla="*/ 242 w 321"/>
                <a:gd name="T49" fmla="*/ 278 h 310"/>
                <a:gd name="T50" fmla="*/ 225 w 321"/>
                <a:gd name="T51" fmla="*/ 194 h 310"/>
                <a:gd name="T52" fmla="*/ 228 w 321"/>
                <a:gd name="T53" fmla="*/ 184 h 310"/>
                <a:gd name="T54" fmla="*/ 287 w 321"/>
                <a:gd name="T55" fmla="*/ 125 h 310"/>
                <a:gd name="T56" fmla="*/ 202 w 321"/>
                <a:gd name="T57" fmla="*/ 117 h 310"/>
                <a:gd name="T58" fmla="*/ 194 w 321"/>
                <a:gd name="T59" fmla="*/ 111 h 310"/>
                <a:gd name="T60" fmla="*/ 161 w 321"/>
                <a:gd name="T61" fmla="*/ 37 h 310"/>
                <a:gd name="T62" fmla="*/ 128 w 321"/>
                <a:gd name="T63" fmla="*/ 111 h 310"/>
                <a:gd name="T64" fmla="*/ 119 w 321"/>
                <a:gd name="T65" fmla="*/ 117 h 310"/>
                <a:gd name="T66" fmla="*/ 35 w 321"/>
                <a:gd name="T67" fmla="*/ 125 h 310"/>
                <a:gd name="T68" fmla="*/ 94 w 321"/>
                <a:gd name="T69" fmla="*/ 184 h 310"/>
                <a:gd name="T70" fmla="*/ 96 w 321"/>
                <a:gd name="T71" fmla="*/ 194 h 310"/>
                <a:gd name="T72" fmla="*/ 80 w 321"/>
                <a:gd name="T73" fmla="*/ 278 h 310"/>
                <a:gd name="T74" fmla="*/ 155 w 321"/>
                <a:gd name="T75" fmla="*/ 236 h 310"/>
                <a:gd name="T76" fmla="*/ 161 w 321"/>
                <a:gd name="T77" fmla="*/ 23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1" h="310">
                  <a:moveTo>
                    <a:pt x="257" y="309"/>
                  </a:moveTo>
                  <a:cubicBezTo>
                    <a:pt x="255" y="309"/>
                    <a:pt x="253" y="309"/>
                    <a:pt x="251" y="308"/>
                  </a:cubicBezTo>
                  <a:cubicBezTo>
                    <a:pt x="161" y="257"/>
                    <a:pt x="161" y="257"/>
                    <a:pt x="161" y="257"/>
                  </a:cubicBezTo>
                  <a:cubicBezTo>
                    <a:pt x="70" y="308"/>
                    <a:pt x="70" y="308"/>
                    <a:pt x="70" y="308"/>
                  </a:cubicBezTo>
                  <a:cubicBezTo>
                    <a:pt x="66" y="310"/>
                    <a:pt x="62" y="309"/>
                    <a:pt x="58" y="307"/>
                  </a:cubicBezTo>
                  <a:cubicBezTo>
                    <a:pt x="55" y="305"/>
                    <a:pt x="53" y="300"/>
                    <a:pt x="54" y="296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" y="122"/>
                    <a:pt x="0" y="117"/>
                    <a:pt x="1" y="113"/>
                  </a:cubicBezTo>
                  <a:cubicBezTo>
                    <a:pt x="3" y="110"/>
                    <a:pt x="6" y="107"/>
                    <a:pt x="10" y="10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3" y="2"/>
                    <a:pt x="156" y="0"/>
                    <a:pt x="161" y="0"/>
                  </a:cubicBezTo>
                  <a:cubicBezTo>
                    <a:pt x="165" y="0"/>
                    <a:pt x="169" y="2"/>
                    <a:pt x="170" y="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311" y="106"/>
                    <a:pt x="311" y="106"/>
                    <a:pt x="311" y="106"/>
                  </a:cubicBezTo>
                  <a:cubicBezTo>
                    <a:pt x="315" y="107"/>
                    <a:pt x="319" y="110"/>
                    <a:pt x="320" y="113"/>
                  </a:cubicBezTo>
                  <a:cubicBezTo>
                    <a:pt x="321" y="117"/>
                    <a:pt x="320" y="122"/>
                    <a:pt x="318" y="125"/>
                  </a:cubicBezTo>
                  <a:cubicBezTo>
                    <a:pt x="247" y="195"/>
                    <a:pt x="247" y="195"/>
                    <a:pt x="247" y="195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300"/>
                    <a:pt x="266" y="305"/>
                    <a:pt x="263" y="307"/>
                  </a:cubicBezTo>
                  <a:cubicBezTo>
                    <a:pt x="261" y="308"/>
                    <a:pt x="259" y="309"/>
                    <a:pt x="257" y="309"/>
                  </a:cubicBezTo>
                  <a:close/>
                  <a:moveTo>
                    <a:pt x="161" y="234"/>
                  </a:moveTo>
                  <a:cubicBezTo>
                    <a:pt x="162" y="234"/>
                    <a:pt x="164" y="235"/>
                    <a:pt x="166" y="236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4" y="190"/>
                    <a:pt x="225" y="187"/>
                    <a:pt x="228" y="184"/>
                  </a:cubicBezTo>
                  <a:cubicBezTo>
                    <a:pt x="287" y="125"/>
                    <a:pt x="287" y="125"/>
                    <a:pt x="287" y="125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98" y="117"/>
                    <a:pt x="195" y="114"/>
                    <a:pt x="194" y="111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6" y="114"/>
                    <a:pt x="123" y="117"/>
                    <a:pt x="119" y="117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6" y="187"/>
                    <a:pt x="97" y="190"/>
                    <a:pt x="96" y="194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155" y="236"/>
                    <a:pt x="155" y="236"/>
                    <a:pt x="155" y="236"/>
                  </a:cubicBezTo>
                  <a:cubicBezTo>
                    <a:pt x="157" y="235"/>
                    <a:pt x="159" y="234"/>
                    <a:pt x="16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Freeform 362">
              <a:extLst>
                <a:ext uri="{FF2B5EF4-FFF2-40B4-BE49-F238E27FC236}">
                  <a16:creationId xmlns:a16="http://schemas.microsoft.com/office/drawing/2014/main" id="{438EB8D5-E794-49A3-96B0-835483DB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5" y="119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9E553D9-3562-45A7-BE4B-0F12FAA0490F}"/>
              </a:ext>
            </a:extLst>
          </p:cNvPr>
          <p:cNvCxnSpPr>
            <a:cxnSpLocks/>
          </p:cNvCxnSpPr>
          <p:nvPr/>
        </p:nvCxnSpPr>
        <p:spPr>
          <a:xfrm flipH="1">
            <a:off x="940867" y="1715079"/>
            <a:ext cx="8373" cy="3724404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A735D38-741F-4EFB-826C-6F87FD459AB4}"/>
              </a:ext>
            </a:extLst>
          </p:cNvPr>
          <p:cNvCxnSpPr/>
          <p:nvPr/>
        </p:nvCxnSpPr>
        <p:spPr>
          <a:xfrm>
            <a:off x="940867" y="2195763"/>
            <a:ext cx="621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BCFE36B-AE16-49E8-90A6-6621A0EB0473}"/>
              </a:ext>
            </a:extLst>
          </p:cNvPr>
          <p:cNvCxnSpPr/>
          <p:nvPr/>
        </p:nvCxnSpPr>
        <p:spPr>
          <a:xfrm>
            <a:off x="940867" y="3812231"/>
            <a:ext cx="621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697F6E2-C26B-4E5F-B7F9-95C6E9325040}"/>
              </a:ext>
            </a:extLst>
          </p:cNvPr>
          <p:cNvCxnSpPr/>
          <p:nvPr/>
        </p:nvCxnSpPr>
        <p:spPr>
          <a:xfrm>
            <a:off x="940867" y="5445295"/>
            <a:ext cx="621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52D3AF8-C069-BFF8-CB53-9C58EA8EE5C3}"/>
              </a:ext>
            </a:extLst>
          </p:cNvPr>
          <p:cNvSpPr txBox="1"/>
          <p:nvPr/>
        </p:nvSpPr>
        <p:spPr>
          <a:xfrm>
            <a:off x="2193890" y="1616109"/>
            <a:ext cx="935334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endParaRPr lang="en-US">
              <a:solidFill>
                <a:srgbClr val="313131"/>
              </a:solidFill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6238EA-9910-422C-C492-35D25AD8467F}"/>
              </a:ext>
            </a:extLst>
          </p:cNvPr>
          <p:cNvSpPr txBox="1"/>
          <p:nvPr/>
        </p:nvSpPr>
        <p:spPr>
          <a:xfrm>
            <a:off x="2194435" y="4973387"/>
            <a:ext cx="9353340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>
                <a:solidFill>
                  <a:srgbClr val="313131"/>
                </a:solidFill>
                <a:cs typeface="Calibri"/>
              </a:rPr>
              <a:t>What movie genre will offer the most advantageous entry point into the market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BFA71B-0196-D0A2-53FD-2D348E757707}"/>
              </a:ext>
            </a:extLst>
          </p:cNvPr>
          <p:cNvSpPr txBox="1"/>
          <p:nvPr/>
        </p:nvSpPr>
        <p:spPr>
          <a:xfrm>
            <a:off x="2194435" y="3582363"/>
            <a:ext cx="935334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>
                <a:solidFill>
                  <a:srgbClr val="313131"/>
                </a:solidFill>
                <a:cs typeface="Calibri"/>
              </a:rPr>
              <a:t>What were the genres with the most movies from 2010-2018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0A6794-46CC-DB7A-A333-E56B679275CA}"/>
              </a:ext>
            </a:extLst>
          </p:cNvPr>
          <p:cNvSpPr txBox="1"/>
          <p:nvPr/>
        </p:nvSpPr>
        <p:spPr>
          <a:xfrm>
            <a:off x="2194436" y="1977996"/>
            <a:ext cx="9353340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>
                <a:solidFill>
                  <a:srgbClr val="313131"/>
                </a:solidFill>
                <a:cs typeface="Calibri"/>
              </a:rPr>
              <a:t>How much can you expect to gross domestically and globally?</a:t>
            </a:r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2D44BB09-F3EE-A210-4B9C-3D516E45AF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906" y="6311670"/>
            <a:ext cx="3137647" cy="509954"/>
          </a:xfrm>
          <a:prstGeom prst="rect">
            <a:avLst/>
          </a:prstGeom>
        </p:spPr>
      </p:pic>
      <p:pic>
        <p:nvPicPr>
          <p:cNvPr id="13" name="Picture 7">
            <a:extLst>
              <a:ext uri="{FF2B5EF4-FFF2-40B4-BE49-F238E27FC236}">
                <a16:creationId xmlns:a16="http://schemas.microsoft.com/office/drawing/2014/main" id="{9C591C25-FD15-245B-A0EB-7CBCB64C3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12" y="6311670"/>
            <a:ext cx="2743200" cy="509954"/>
          </a:xfrm>
          <a:prstGeom prst="rect">
            <a:avLst/>
          </a:prstGeom>
        </p:spPr>
      </p:pic>
      <p:pic>
        <p:nvPicPr>
          <p:cNvPr id="15" name="Picture 4" descr="Circle&#10;&#10;Description automatically generated">
            <a:extLst>
              <a:ext uri="{FF2B5EF4-FFF2-40B4-BE49-F238E27FC236}">
                <a16:creationId xmlns:a16="http://schemas.microsoft.com/office/drawing/2014/main" id="{A60A4AD2-51DC-691A-4F94-16410EB07C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56" y="6279579"/>
            <a:ext cx="1792941" cy="34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8664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B2D7482-29CE-A05D-5388-F70774BA529A}"/>
              </a:ext>
            </a:extLst>
          </p:cNvPr>
          <p:cNvSpPr/>
          <p:nvPr/>
        </p:nvSpPr>
        <p:spPr bwMode="gray">
          <a:xfrm>
            <a:off x="12765" y="2606"/>
            <a:ext cx="5710517" cy="6866963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F6813EE-0735-E519-F75E-5CB8B320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490028"/>
            <a:ext cx="11188700" cy="334099"/>
          </a:xfrm>
        </p:spPr>
        <p:txBody>
          <a:bodyPr/>
          <a:lstStyle/>
          <a:p>
            <a:pPr algn="r"/>
            <a:r>
              <a:rPr lang="en-US" sz="4400">
                <a:cs typeface="Calibri Light"/>
              </a:rPr>
              <a:t>Data Overview</a:t>
            </a:r>
            <a:endParaRPr lang="en-US" sz="4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DFA5BF-711F-4500-5B49-07DEEEB5149E}"/>
              </a:ext>
            </a:extLst>
          </p:cNvPr>
          <p:cNvSpPr txBox="1"/>
          <p:nvPr/>
        </p:nvSpPr>
        <p:spPr>
          <a:xfrm>
            <a:off x="166653" y="2273167"/>
            <a:ext cx="5400989" cy="252376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400" b="1">
                <a:solidFill>
                  <a:schemeClr val="bg1"/>
                </a:solidFill>
                <a:cs typeface="Calibri"/>
              </a:rPr>
              <a:t>Data Sources</a:t>
            </a:r>
          </a:p>
          <a:p>
            <a:pPr>
              <a:spcBef>
                <a:spcPts val="600"/>
              </a:spcBef>
            </a:pPr>
            <a:r>
              <a:rPr lang="en-US" sz="1500">
                <a:solidFill>
                  <a:schemeClr val="bg1"/>
                </a:solidFill>
                <a:cs typeface="Calibri"/>
              </a:rPr>
              <a:t>- IMDB: utilized movie rating information</a:t>
            </a:r>
          </a:p>
          <a:p>
            <a:pPr marL="742950" lvl="1" indent="-285750">
              <a:spcBef>
                <a:spcPts val="600"/>
              </a:spcBef>
              <a:buFont typeface="Arial"/>
              <a:buChar char="•"/>
            </a:pPr>
            <a:r>
              <a:rPr lang="en-US" sz="1500">
                <a:solidFill>
                  <a:schemeClr val="bg1"/>
                </a:solidFill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MDB</a:t>
            </a:r>
            <a:endParaRPr lang="en-US" sz="1500">
              <a:solidFill>
                <a:schemeClr val="bg1"/>
              </a:solidFill>
              <a:cs typeface="Calibri"/>
            </a:endParaRPr>
          </a:p>
          <a:p>
            <a:pPr>
              <a:spcBef>
                <a:spcPts val="600"/>
              </a:spcBef>
            </a:pPr>
            <a:r>
              <a:rPr lang="en-US" sz="1500">
                <a:solidFill>
                  <a:schemeClr val="bg1"/>
                </a:solidFill>
                <a:cs typeface="Calibri"/>
              </a:rPr>
              <a:t>- TheMovieDB: utilized production budget</a:t>
            </a:r>
          </a:p>
          <a:p>
            <a:pPr marL="742950" lvl="1" indent="-285750">
              <a:spcBef>
                <a:spcPts val="600"/>
              </a:spcBef>
              <a:buFont typeface="Arial"/>
              <a:buChar char="•"/>
            </a:pPr>
            <a:r>
              <a:rPr lang="en-US" sz="1500">
                <a:solidFill>
                  <a:schemeClr val="bg1"/>
                </a:solidFill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MovieDB</a:t>
            </a:r>
          </a:p>
          <a:p>
            <a:pPr>
              <a:spcBef>
                <a:spcPts val="600"/>
              </a:spcBef>
            </a:pPr>
            <a:r>
              <a:rPr lang="en-US" sz="1500">
                <a:solidFill>
                  <a:schemeClr val="bg1"/>
                </a:solidFill>
                <a:cs typeface="Calibri"/>
              </a:rPr>
              <a:t>- The Numbers: utilized domestic gross, worldwide gross and studio</a:t>
            </a:r>
            <a:endParaRPr lang="en-US">
              <a:solidFill>
                <a:schemeClr val="bg1"/>
              </a:solidFill>
              <a:cs typeface="Calibri"/>
            </a:endParaRPr>
          </a:p>
          <a:p>
            <a:pPr marL="742950" lvl="1" indent="-285750">
              <a:spcBef>
                <a:spcPts val="600"/>
              </a:spcBef>
              <a:buFont typeface="Arial"/>
              <a:buChar char="•"/>
            </a:pPr>
            <a:r>
              <a:rPr lang="en-US" sz="1500">
                <a:solidFill>
                  <a:schemeClr val="bg1"/>
                </a:solidFill>
                <a:cs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Numbers</a:t>
            </a:r>
            <a:endParaRPr lang="en-US" sz="1500">
              <a:solidFill>
                <a:schemeClr val="bg1"/>
              </a:solidFill>
              <a:cs typeface="Calibri"/>
            </a:endParaRPr>
          </a:p>
          <a:p>
            <a:pPr>
              <a:spcBef>
                <a:spcPts val="600"/>
              </a:spcBef>
            </a:pPr>
            <a:endParaRPr lang="en-US" sz="1500">
              <a:cs typeface="Calibri"/>
            </a:endParaRP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1DA7D09F-B125-7BD1-4387-0E451122AA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9906" y="6311670"/>
            <a:ext cx="3290047" cy="509954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9AE2E130-58A6-5580-8E08-19FF8A9FCC49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7"/>
          <a:stretch>
            <a:fillRect/>
          </a:stretch>
        </p:blipFill>
        <p:spPr>
          <a:xfrm>
            <a:off x="6368865" y="1712297"/>
            <a:ext cx="5355165" cy="3010863"/>
          </a:xfrm>
        </p:spPr>
      </p:pic>
      <p:pic>
        <p:nvPicPr>
          <p:cNvPr id="15" name="Picture 5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EB447650-B018-41A6-BE70-466D8A103E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643" y="6292520"/>
            <a:ext cx="1684460" cy="332448"/>
          </a:xfrm>
          <a:prstGeom prst="rect">
            <a:avLst/>
          </a:prstGeom>
        </p:spPr>
      </p:pic>
      <p:grpSp>
        <p:nvGrpSpPr>
          <p:cNvPr id="17" name="Graphic 4">
            <a:extLst>
              <a:ext uri="{FF2B5EF4-FFF2-40B4-BE49-F238E27FC236}">
                <a16:creationId xmlns:a16="http://schemas.microsoft.com/office/drawing/2014/main" id="{747EA86C-A86C-42A0-96EE-B0D2322E6A67}"/>
              </a:ext>
            </a:extLst>
          </p:cNvPr>
          <p:cNvGrpSpPr/>
          <p:nvPr/>
        </p:nvGrpSpPr>
        <p:grpSpPr>
          <a:xfrm>
            <a:off x="2500642" y="1393496"/>
            <a:ext cx="699880" cy="670860"/>
            <a:chOff x="3607758" y="1893013"/>
            <a:chExt cx="361674" cy="361333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A0CFD553-B3A6-44BA-AC01-0069F0FEB3BA}"/>
                </a:ext>
              </a:extLst>
            </p:cNvPr>
            <p:cNvSpPr/>
            <p:nvPr/>
          </p:nvSpPr>
          <p:spPr>
            <a:xfrm>
              <a:off x="3607758" y="1893013"/>
              <a:ext cx="361674" cy="361333"/>
            </a:xfrm>
            <a:custGeom>
              <a:avLst/>
              <a:gdLst>
                <a:gd name="connsiteX0" fmla="*/ 180836 w 361674"/>
                <a:gd name="connsiteY0" fmla="*/ 0 h 361333"/>
                <a:gd name="connsiteX1" fmla="*/ 0 w 361674"/>
                <a:gd name="connsiteY1" fmla="*/ 180667 h 361333"/>
                <a:gd name="connsiteX2" fmla="*/ 180836 w 361674"/>
                <a:gd name="connsiteY2" fmla="*/ 361333 h 361333"/>
                <a:gd name="connsiteX3" fmla="*/ 361671 w 361674"/>
                <a:gd name="connsiteY3" fmla="*/ 180667 h 361333"/>
                <a:gd name="connsiteX4" fmla="*/ 180836 w 361674"/>
                <a:gd name="connsiteY4" fmla="*/ 0 h 361333"/>
                <a:gd name="connsiteX5" fmla="*/ 180836 w 361674"/>
                <a:gd name="connsiteY5" fmla="*/ 349204 h 361333"/>
                <a:gd name="connsiteX6" fmla="*/ 12780 w 361674"/>
                <a:gd name="connsiteY6" fmla="*/ 181305 h 361333"/>
                <a:gd name="connsiteX7" fmla="*/ 180836 w 361674"/>
                <a:gd name="connsiteY7" fmla="*/ 13406 h 361333"/>
                <a:gd name="connsiteX8" fmla="*/ 348891 w 361674"/>
                <a:gd name="connsiteY8" fmla="*/ 181305 h 361333"/>
                <a:gd name="connsiteX9" fmla="*/ 180836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2310" y="81077"/>
                    <a:pt x="281157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6" y="13406"/>
                  </a:cubicBezTo>
                  <a:cubicBezTo>
                    <a:pt x="273490" y="13406"/>
                    <a:pt x="348891" y="88737"/>
                    <a:pt x="348891" y="181305"/>
                  </a:cubicBezTo>
                  <a:cubicBezTo>
                    <a:pt x="349530" y="273873"/>
                    <a:pt x="274128" y="349204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55C78325-11BE-44AC-B93C-EBA149BD8ACF}"/>
                </a:ext>
              </a:extLst>
            </p:cNvPr>
            <p:cNvSpPr/>
            <p:nvPr/>
          </p:nvSpPr>
          <p:spPr>
            <a:xfrm>
              <a:off x="3684437" y="1997710"/>
              <a:ext cx="208951" cy="152577"/>
            </a:xfrm>
            <a:custGeom>
              <a:avLst/>
              <a:gdLst>
                <a:gd name="connsiteX0" fmla="*/ 202561 w 208951"/>
                <a:gd name="connsiteY0" fmla="*/ 139809 h 152577"/>
                <a:gd name="connsiteX1" fmla="*/ 12780 w 208951"/>
                <a:gd name="connsiteY1" fmla="*/ 139809 h 152577"/>
                <a:gd name="connsiteX2" fmla="*/ 12780 w 208951"/>
                <a:gd name="connsiteY2" fmla="*/ 6384 h 152577"/>
                <a:gd name="connsiteX3" fmla="*/ 6390 w 208951"/>
                <a:gd name="connsiteY3" fmla="*/ 0 h 152577"/>
                <a:gd name="connsiteX4" fmla="*/ 0 w 208951"/>
                <a:gd name="connsiteY4" fmla="*/ 6384 h 152577"/>
                <a:gd name="connsiteX5" fmla="*/ 0 w 208951"/>
                <a:gd name="connsiteY5" fmla="*/ 146193 h 152577"/>
                <a:gd name="connsiteX6" fmla="*/ 6390 w 208951"/>
                <a:gd name="connsiteY6" fmla="*/ 152577 h 152577"/>
                <a:gd name="connsiteX7" fmla="*/ 202561 w 208951"/>
                <a:gd name="connsiteY7" fmla="*/ 152577 h 152577"/>
                <a:gd name="connsiteX8" fmla="*/ 208951 w 208951"/>
                <a:gd name="connsiteY8" fmla="*/ 146193 h 152577"/>
                <a:gd name="connsiteX9" fmla="*/ 202561 w 208951"/>
                <a:gd name="connsiteY9" fmla="*/ 139809 h 15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951" h="152577">
                  <a:moveTo>
                    <a:pt x="202561" y="139809"/>
                  </a:moveTo>
                  <a:lnTo>
                    <a:pt x="12780" y="139809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46193"/>
                  </a:lnTo>
                  <a:cubicBezTo>
                    <a:pt x="0" y="150024"/>
                    <a:pt x="2556" y="152577"/>
                    <a:pt x="6390" y="152577"/>
                  </a:cubicBezTo>
                  <a:lnTo>
                    <a:pt x="202561" y="152577"/>
                  </a:lnTo>
                  <a:cubicBezTo>
                    <a:pt x="206395" y="152577"/>
                    <a:pt x="208951" y="150024"/>
                    <a:pt x="208951" y="146193"/>
                  </a:cubicBezTo>
                  <a:cubicBezTo>
                    <a:pt x="208951" y="142363"/>
                    <a:pt x="206395" y="139809"/>
                    <a:pt x="202561" y="1398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Graphic 4">
              <a:extLst>
                <a:ext uri="{FF2B5EF4-FFF2-40B4-BE49-F238E27FC236}">
                  <a16:creationId xmlns:a16="http://schemas.microsoft.com/office/drawing/2014/main" id="{31E832D7-E8EF-4201-A98B-7C33BD242FA8}"/>
                </a:ext>
              </a:extLst>
            </p:cNvPr>
            <p:cNvSpPr/>
            <p:nvPr/>
          </p:nvSpPr>
          <p:spPr>
            <a:xfrm>
              <a:off x="3712553" y="2081340"/>
              <a:ext cx="12779" cy="40857"/>
            </a:xfrm>
            <a:custGeom>
              <a:avLst/>
              <a:gdLst>
                <a:gd name="connsiteX0" fmla="*/ 6390 w 12779"/>
                <a:gd name="connsiteY0" fmla="*/ 40857 h 40857"/>
                <a:gd name="connsiteX1" fmla="*/ 12780 w 12779"/>
                <a:gd name="connsiteY1" fmla="*/ 34473 h 40857"/>
                <a:gd name="connsiteX2" fmla="*/ 12780 w 12779"/>
                <a:gd name="connsiteY2" fmla="*/ 6384 h 40857"/>
                <a:gd name="connsiteX3" fmla="*/ 6390 w 12779"/>
                <a:gd name="connsiteY3" fmla="*/ 0 h 40857"/>
                <a:gd name="connsiteX4" fmla="*/ 0 w 12779"/>
                <a:gd name="connsiteY4" fmla="*/ 6384 h 40857"/>
                <a:gd name="connsiteX5" fmla="*/ 0 w 12779"/>
                <a:gd name="connsiteY5" fmla="*/ 34473 h 40857"/>
                <a:gd name="connsiteX6" fmla="*/ 6390 w 12779"/>
                <a:gd name="connsiteY6" fmla="*/ 40857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0857">
                  <a:moveTo>
                    <a:pt x="6390" y="40857"/>
                  </a:moveTo>
                  <a:cubicBezTo>
                    <a:pt x="10224" y="40857"/>
                    <a:pt x="12780" y="38304"/>
                    <a:pt x="12780" y="34473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4473"/>
                  </a:lnTo>
                  <a:cubicBezTo>
                    <a:pt x="0" y="38304"/>
                    <a:pt x="2556" y="40857"/>
                    <a:pt x="6390" y="4085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phic 4">
              <a:extLst>
                <a:ext uri="{FF2B5EF4-FFF2-40B4-BE49-F238E27FC236}">
                  <a16:creationId xmlns:a16="http://schemas.microsoft.com/office/drawing/2014/main" id="{723DF195-DF7B-4C72-9D2D-4DD40BCAFE2C}"/>
                </a:ext>
              </a:extLst>
            </p:cNvPr>
            <p:cNvSpPr/>
            <p:nvPr/>
          </p:nvSpPr>
          <p:spPr>
            <a:xfrm>
              <a:off x="3740669" y="2060273"/>
              <a:ext cx="12779" cy="61924"/>
            </a:xfrm>
            <a:custGeom>
              <a:avLst/>
              <a:gdLst>
                <a:gd name="connsiteX0" fmla="*/ 6390 w 12779"/>
                <a:gd name="connsiteY0" fmla="*/ 61925 h 61924"/>
                <a:gd name="connsiteX1" fmla="*/ 12780 w 12779"/>
                <a:gd name="connsiteY1" fmla="*/ 55541 h 61924"/>
                <a:gd name="connsiteX2" fmla="*/ 12780 w 12779"/>
                <a:gd name="connsiteY2" fmla="*/ 6384 h 61924"/>
                <a:gd name="connsiteX3" fmla="*/ 6390 w 12779"/>
                <a:gd name="connsiteY3" fmla="*/ 0 h 61924"/>
                <a:gd name="connsiteX4" fmla="*/ 0 w 12779"/>
                <a:gd name="connsiteY4" fmla="*/ 6384 h 61924"/>
                <a:gd name="connsiteX5" fmla="*/ 0 w 12779"/>
                <a:gd name="connsiteY5" fmla="*/ 55541 h 61924"/>
                <a:gd name="connsiteX6" fmla="*/ 6390 w 12779"/>
                <a:gd name="connsiteY6" fmla="*/ 61925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1924">
                  <a:moveTo>
                    <a:pt x="6390" y="61925"/>
                  </a:moveTo>
                  <a:cubicBezTo>
                    <a:pt x="10224" y="61925"/>
                    <a:pt x="12780" y="59371"/>
                    <a:pt x="12780" y="55541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55541"/>
                  </a:lnTo>
                  <a:cubicBezTo>
                    <a:pt x="0" y="59371"/>
                    <a:pt x="2556" y="61925"/>
                    <a:pt x="6390" y="6192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754173E3-41F1-47DE-9483-D741A52A3126}"/>
                </a:ext>
              </a:extLst>
            </p:cNvPr>
            <p:cNvSpPr/>
            <p:nvPr/>
          </p:nvSpPr>
          <p:spPr>
            <a:xfrm>
              <a:off x="3768784" y="1997072"/>
              <a:ext cx="12779" cy="125125"/>
            </a:xfrm>
            <a:custGeom>
              <a:avLst/>
              <a:gdLst>
                <a:gd name="connsiteX0" fmla="*/ 6390 w 12779"/>
                <a:gd name="connsiteY0" fmla="*/ 125126 h 125125"/>
                <a:gd name="connsiteX1" fmla="*/ 12780 w 12779"/>
                <a:gd name="connsiteY1" fmla="*/ 118742 h 125125"/>
                <a:gd name="connsiteX2" fmla="*/ 12780 w 12779"/>
                <a:gd name="connsiteY2" fmla="*/ 6384 h 125125"/>
                <a:gd name="connsiteX3" fmla="*/ 6390 w 12779"/>
                <a:gd name="connsiteY3" fmla="*/ 0 h 125125"/>
                <a:gd name="connsiteX4" fmla="*/ 0 w 12779"/>
                <a:gd name="connsiteY4" fmla="*/ 6384 h 125125"/>
                <a:gd name="connsiteX5" fmla="*/ 0 w 12779"/>
                <a:gd name="connsiteY5" fmla="*/ 118742 h 125125"/>
                <a:gd name="connsiteX6" fmla="*/ 6390 w 12779"/>
                <a:gd name="connsiteY6" fmla="*/ 125126 h 12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125125">
                  <a:moveTo>
                    <a:pt x="6390" y="125126"/>
                  </a:moveTo>
                  <a:cubicBezTo>
                    <a:pt x="10224" y="125126"/>
                    <a:pt x="12780" y="122572"/>
                    <a:pt x="12780" y="118742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18742"/>
                  </a:lnTo>
                  <a:cubicBezTo>
                    <a:pt x="0" y="122572"/>
                    <a:pt x="2556" y="125126"/>
                    <a:pt x="6390" y="12512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1912EE69-C66A-47C6-9B07-BE339CC2217D}"/>
                </a:ext>
              </a:extLst>
            </p:cNvPr>
            <p:cNvSpPr/>
            <p:nvPr/>
          </p:nvSpPr>
          <p:spPr>
            <a:xfrm>
              <a:off x="3796261" y="2032184"/>
              <a:ext cx="12779" cy="90013"/>
            </a:xfrm>
            <a:custGeom>
              <a:avLst/>
              <a:gdLst>
                <a:gd name="connsiteX0" fmla="*/ 6390 w 12779"/>
                <a:gd name="connsiteY0" fmla="*/ 90014 h 90013"/>
                <a:gd name="connsiteX1" fmla="*/ 12780 w 12779"/>
                <a:gd name="connsiteY1" fmla="*/ 83630 h 90013"/>
                <a:gd name="connsiteX2" fmla="*/ 12780 w 12779"/>
                <a:gd name="connsiteY2" fmla="*/ 6384 h 90013"/>
                <a:gd name="connsiteX3" fmla="*/ 6390 w 12779"/>
                <a:gd name="connsiteY3" fmla="*/ 0 h 90013"/>
                <a:gd name="connsiteX4" fmla="*/ 0 w 12779"/>
                <a:gd name="connsiteY4" fmla="*/ 6384 h 90013"/>
                <a:gd name="connsiteX5" fmla="*/ 0 w 12779"/>
                <a:gd name="connsiteY5" fmla="*/ 83630 h 90013"/>
                <a:gd name="connsiteX6" fmla="*/ 6390 w 12779"/>
                <a:gd name="connsiteY6" fmla="*/ 90014 h 9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90013">
                  <a:moveTo>
                    <a:pt x="6390" y="90014"/>
                  </a:moveTo>
                  <a:cubicBezTo>
                    <a:pt x="10224" y="90014"/>
                    <a:pt x="12780" y="87460"/>
                    <a:pt x="12780" y="8363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83630"/>
                  </a:lnTo>
                  <a:cubicBezTo>
                    <a:pt x="0" y="87460"/>
                    <a:pt x="3195" y="90014"/>
                    <a:pt x="6390" y="9001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id="{EAFD4E3D-D0E9-4958-95C4-C43319CF042B}"/>
                </a:ext>
              </a:extLst>
            </p:cNvPr>
            <p:cNvSpPr/>
            <p:nvPr/>
          </p:nvSpPr>
          <p:spPr>
            <a:xfrm>
              <a:off x="3824377" y="2011116"/>
              <a:ext cx="12779" cy="111081"/>
            </a:xfrm>
            <a:custGeom>
              <a:avLst/>
              <a:gdLst>
                <a:gd name="connsiteX0" fmla="*/ 6390 w 12779"/>
                <a:gd name="connsiteY0" fmla="*/ 111081 h 111081"/>
                <a:gd name="connsiteX1" fmla="*/ 12780 w 12779"/>
                <a:gd name="connsiteY1" fmla="*/ 104697 h 111081"/>
                <a:gd name="connsiteX2" fmla="*/ 12780 w 12779"/>
                <a:gd name="connsiteY2" fmla="*/ 6384 h 111081"/>
                <a:gd name="connsiteX3" fmla="*/ 6390 w 12779"/>
                <a:gd name="connsiteY3" fmla="*/ 0 h 111081"/>
                <a:gd name="connsiteX4" fmla="*/ 0 w 12779"/>
                <a:gd name="connsiteY4" fmla="*/ 6384 h 111081"/>
                <a:gd name="connsiteX5" fmla="*/ 0 w 12779"/>
                <a:gd name="connsiteY5" fmla="*/ 104697 h 111081"/>
                <a:gd name="connsiteX6" fmla="*/ 6390 w 12779"/>
                <a:gd name="connsiteY6" fmla="*/ 111081 h 11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111081">
                  <a:moveTo>
                    <a:pt x="6390" y="111081"/>
                  </a:moveTo>
                  <a:cubicBezTo>
                    <a:pt x="10224" y="111081"/>
                    <a:pt x="12780" y="108528"/>
                    <a:pt x="12780" y="104697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04697"/>
                  </a:lnTo>
                  <a:cubicBezTo>
                    <a:pt x="0" y="108528"/>
                    <a:pt x="3195" y="111081"/>
                    <a:pt x="6390" y="11108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id="{915BC4F7-6C72-497E-BF6E-C729675B54CB}"/>
                </a:ext>
              </a:extLst>
            </p:cNvPr>
            <p:cNvSpPr/>
            <p:nvPr/>
          </p:nvSpPr>
          <p:spPr>
            <a:xfrm>
              <a:off x="3852493" y="2067296"/>
              <a:ext cx="12779" cy="54902"/>
            </a:xfrm>
            <a:custGeom>
              <a:avLst/>
              <a:gdLst>
                <a:gd name="connsiteX0" fmla="*/ 6390 w 12779"/>
                <a:gd name="connsiteY0" fmla="*/ 54902 h 54902"/>
                <a:gd name="connsiteX1" fmla="*/ 12780 w 12779"/>
                <a:gd name="connsiteY1" fmla="*/ 48518 h 54902"/>
                <a:gd name="connsiteX2" fmla="*/ 12780 w 12779"/>
                <a:gd name="connsiteY2" fmla="*/ 6384 h 54902"/>
                <a:gd name="connsiteX3" fmla="*/ 6390 w 12779"/>
                <a:gd name="connsiteY3" fmla="*/ 0 h 54902"/>
                <a:gd name="connsiteX4" fmla="*/ 0 w 12779"/>
                <a:gd name="connsiteY4" fmla="*/ 6384 h 54902"/>
                <a:gd name="connsiteX5" fmla="*/ 0 w 12779"/>
                <a:gd name="connsiteY5" fmla="*/ 48518 h 54902"/>
                <a:gd name="connsiteX6" fmla="*/ 6390 w 12779"/>
                <a:gd name="connsiteY6" fmla="*/ 54902 h 5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54902">
                  <a:moveTo>
                    <a:pt x="6390" y="54902"/>
                  </a:moveTo>
                  <a:cubicBezTo>
                    <a:pt x="10224" y="54902"/>
                    <a:pt x="12780" y="52349"/>
                    <a:pt x="12780" y="48518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48518"/>
                  </a:lnTo>
                  <a:cubicBezTo>
                    <a:pt x="0" y="52349"/>
                    <a:pt x="3195" y="54902"/>
                    <a:pt x="6390" y="5490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35854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0FEE9-B395-B628-6E12-91BCF66D9A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69912" y="751706"/>
            <a:ext cx="8479754" cy="328880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n-US" sz="1700">
                <a:solidFill>
                  <a:srgbClr val="313131"/>
                </a:solidFill>
                <a:ea typeface="+mn-lt"/>
                <a:cs typeface="+mn-lt"/>
              </a:rPr>
              <a:t>How much can you expect to gross domestically and globally?</a:t>
            </a:r>
            <a:endParaRPr lang="en-US" sz="1700">
              <a:ea typeface="+mn-lt"/>
              <a:cs typeface="+mn-lt"/>
            </a:endParaRP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31774E-5D23-A1E6-1DB9-B5DBFA74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15524"/>
            <a:ext cx="11188700" cy="522357"/>
          </a:xfrm>
        </p:spPr>
        <p:txBody>
          <a:bodyPr/>
          <a:lstStyle/>
          <a:p>
            <a:pPr algn="ctr"/>
            <a:r>
              <a:rPr lang="en-US" sz="4000">
                <a:cs typeface="Calibri Light"/>
              </a:rPr>
              <a:t>Data Analysis: Recommendation 1</a:t>
            </a:r>
            <a:endParaRPr lang="en-US" sz="400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82C803-F676-45D1-9DA6-7B71DF3E7C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906" y="6311670"/>
            <a:ext cx="3137647" cy="5099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97393F9-FCDE-A56B-473E-E72D328E6ABF}"/>
              </a:ext>
            </a:extLst>
          </p:cNvPr>
          <p:cNvSpPr/>
          <p:nvPr/>
        </p:nvSpPr>
        <p:spPr bwMode="gray">
          <a:xfrm rot="-5400000">
            <a:off x="4629563" y="-733320"/>
            <a:ext cx="2958107" cy="12217709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1" name="Picture 12" descr="Icon&#10;&#10;Description automatically generated">
            <a:extLst>
              <a:ext uri="{FF2B5EF4-FFF2-40B4-BE49-F238E27FC236}">
                <a16:creationId xmlns:a16="http://schemas.microsoft.com/office/drawing/2014/main" id="{D169F1E4-0EAA-B2D1-3FBD-C50FB78BD5A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4"/>
          <a:stretch>
            <a:fillRect/>
          </a:stretch>
        </p:blipFill>
        <p:spPr>
          <a:xfrm>
            <a:off x="5767044" y="4016165"/>
            <a:ext cx="657225" cy="657225"/>
          </a:xfr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F432B84-98E3-F5A9-A163-6015A94CEC4D}"/>
              </a:ext>
            </a:extLst>
          </p:cNvPr>
          <p:cNvSpPr txBox="1"/>
          <p:nvPr/>
        </p:nvSpPr>
        <p:spPr>
          <a:xfrm>
            <a:off x="4286250" y="5216525"/>
            <a:ext cx="3621088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Median production budget across genres is $25,000,000</a:t>
            </a:r>
          </a:p>
        </p:txBody>
      </p:sp>
      <p:pic>
        <p:nvPicPr>
          <p:cNvPr id="2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704CBD3A-DAD4-EA60-FE93-A33D2D3E38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4639" y="1212866"/>
            <a:ext cx="3547068" cy="2538216"/>
          </a:xfrm>
          <a:prstGeom prst="rect">
            <a:avLst/>
          </a:prstGeom>
        </p:spPr>
      </p:pic>
      <p:pic>
        <p:nvPicPr>
          <p:cNvPr id="3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836A7805-43A4-95E0-183D-89191E437D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42060" y="1215988"/>
            <a:ext cx="3513573" cy="24749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F9EF06B-676F-3F31-4102-CEC2B947D4EF}"/>
              </a:ext>
            </a:extLst>
          </p:cNvPr>
          <p:cNvSpPr txBox="1"/>
          <p:nvPr/>
        </p:nvSpPr>
        <p:spPr>
          <a:xfrm>
            <a:off x="457200" y="5216525"/>
            <a:ext cx="3621088" cy="9079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,Sans-Serif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70% of variability in revenue can be attributed to production budget</a:t>
            </a:r>
            <a:endParaRPr lang="en-US">
              <a:solidFill>
                <a:schemeClr val="bg1"/>
              </a:solidFill>
            </a:endParaRPr>
          </a:p>
          <a:p>
            <a:pPr marL="203200" indent="-203200" algn="l">
              <a:spcBef>
                <a:spcPts val="600"/>
              </a:spcBef>
              <a:buSzPct val="100000"/>
              <a:buFont typeface="Arial"/>
              <a:buChar char="•"/>
            </a:pPr>
            <a:endParaRPr lang="en-US">
              <a:solidFill>
                <a:srgbClr val="313131"/>
              </a:solidFill>
              <a:cs typeface="Calibri"/>
            </a:endParaRPr>
          </a:p>
        </p:txBody>
      </p:sp>
      <p:pic>
        <p:nvPicPr>
          <p:cNvPr id="9" name="Picture 5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E2EACF58-D5AB-254A-19C1-8A330819F6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643" y="6292520"/>
            <a:ext cx="1684460" cy="33244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86F387-65B7-3794-6B12-33C40585166F}"/>
              </a:ext>
            </a:extLst>
          </p:cNvPr>
          <p:cNvSpPr txBox="1"/>
          <p:nvPr/>
        </p:nvSpPr>
        <p:spPr>
          <a:xfrm>
            <a:off x="8086725" y="5216525"/>
            <a:ext cx="3621088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>
                <a:solidFill>
                  <a:schemeClr val="bg1"/>
                </a:solidFill>
                <a:cs typeface="Calibri"/>
              </a:rPr>
              <a:t>Given a median production budget, we expect $27 million in domestic and $82.5 million in global gross revenu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2ED225-CC3D-C247-E343-B7D234291A1B}"/>
              </a:ext>
            </a:extLst>
          </p:cNvPr>
          <p:cNvSpPr txBox="1"/>
          <p:nvPr/>
        </p:nvSpPr>
        <p:spPr>
          <a:xfrm>
            <a:off x="4876914" y="4722219"/>
            <a:ext cx="247879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b="1">
                <a:solidFill>
                  <a:schemeClr val="bg1"/>
                </a:solidFill>
                <a:ea typeface="+mn-lt"/>
                <a:cs typeface="+mn-lt"/>
              </a:rPr>
              <a:t>Insights</a:t>
            </a:r>
            <a:endParaRPr lang="en-US" sz="2400">
              <a:solidFill>
                <a:schemeClr val="bg1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28006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0D5BB12-A455-E6E6-AD11-01DCB32B0AC2}"/>
              </a:ext>
            </a:extLst>
          </p:cNvPr>
          <p:cNvSpPr/>
          <p:nvPr/>
        </p:nvSpPr>
        <p:spPr bwMode="gray">
          <a:xfrm>
            <a:off x="6481482" y="-5677"/>
            <a:ext cx="5710517" cy="6866963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0FEE9-B395-B628-6E12-91BCF66D9A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594" y="917179"/>
            <a:ext cx="5711656" cy="429652"/>
          </a:xfrm>
          <a:solidFill>
            <a:schemeClr val="bg1"/>
          </a:solidFill>
          <a:ln w="6350">
            <a:noFill/>
            <a:prstDash val="sysDot"/>
          </a:ln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solidFill>
                  <a:srgbClr val="313131"/>
                </a:solidFill>
                <a:cs typeface="Calibri"/>
              </a:rPr>
              <a:t>What were the genres with the most movies from 2010-2018?</a:t>
            </a:r>
            <a:endParaRPr lang="en-US" sz="1600">
              <a:cs typeface="Calibri"/>
            </a:endParaRP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31774E-5D23-A1E6-1DB9-B5DBFA74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522357"/>
          </a:xfrm>
        </p:spPr>
        <p:txBody>
          <a:bodyPr/>
          <a:lstStyle/>
          <a:p>
            <a:r>
              <a:rPr lang="en-US" sz="4000">
                <a:cs typeface="Calibri Light"/>
              </a:rPr>
              <a:t>Data Analysis: Recommendat</a:t>
            </a:r>
            <a:r>
              <a:rPr lang="en-US" sz="4000">
                <a:solidFill>
                  <a:schemeClr val="bg1"/>
                </a:solidFill>
                <a:cs typeface="Calibri Light"/>
              </a:rPr>
              <a:t>ion 2</a:t>
            </a:r>
            <a:endParaRPr lang="en-US" sz="400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4BB420-3985-A09A-7EA7-5BDC2F3C3218}"/>
              </a:ext>
            </a:extLst>
          </p:cNvPr>
          <p:cNvSpPr txBox="1"/>
          <p:nvPr/>
        </p:nvSpPr>
        <p:spPr>
          <a:xfrm>
            <a:off x="6878268" y="2398053"/>
            <a:ext cx="4919382" cy="24468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b="1">
                <a:solidFill>
                  <a:schemeClr val="bg1"/>
                </a:solidFill>
                <a:cs typeface="Calibri"/>
              </a:rPr>
              <a:t>Insights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Drama tops the list of genres with over 80 different movies produced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Most movies are not considered one specific genre, but a mix of genres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The most common elements in the top 10 genres are action, drama, and comedy</a:t>
            </a:r>
            <a:endParaRPr lang="en-US">
              <a:solidFill>
                <a:schemeClr val="bg1"/>
              </a:solidFill>
              <a:cs typeface="Calibri"/>
            </a:endParaRPr>
          </a:p>
        </p:txBody>
      </p:sp>
      <p:pic>
        <p:nvPicPr>
          <p:cNvPr id="11" name="Picture 4" descr="Circle&#10;&#10;Description automatically generated">
            <a:extLst>
              <a:ext uri="{FF2B5EF4-FFF2-40B4-BE49-F238E27FC236}">
                <a16:creationId xmlns:a16="http://schemas.microsoft.com/office/drawing/2014/main" id="{0A303495-2525-B2E2-B93E-A528666FE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156" y="6279580"/>
            <a:ext cx="1792941" cy="340456"/>
          </a:xfrm>
          <a:prstGeom prst="rect">
            <a:avLst/>
          </a:prstGeom>
        </p:spPr>
      </p:pic>
      <p:pic>
        <p:nvPicPr>
          <p:cNvPr id="2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9083761-B61F-F3C8-B7DC-EEA82191B7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1927" y="1380697"/>
            <a:ext cx="530225" cy="814705"/>
          </a:xfrm>
          <a:prstGeom prst="rect">
            <a:avLst/>
          </a:prstGeom>
          <a:ln>
            <a:noFill/>
          </a:ln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AE1950A6-92BC-49F8-BEB2-3B599BB0A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269" y="2018381"/>
            <a:ext cx="5898873" cy="299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3032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10EF4F8-6987-0BA8-A954-740D7430F21E}"/>
              </a:ext>
            </a:extLst>
          </p:cNvPr>
          <p:cNvSpPr/>
          <p:nvPr/>
        </p:nvSpPr>
        <p:spPr bwMode="gray">
          <a:xfrm>
            <a:off x="6489765" y="4814"/>
            <a:ext cx="5710517" cy="6866963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0FEE9-B395-B628-6E12-91BCF66D9A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0358" y="911935"/>
            <a:ext cx="5349128" cy="4206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solidFill>
                  <a:srgbClr val="313131"/>
                </a:solidFill>
                <a:ea typeface="+mn-lt"/>
                <a:cs typeface="+mn-lt"/>
              </a:rPr>
              <a:t>What movie genre will offer the most advantageous entry point into the market?</a:t>
            </a:r>
            <a:endParaRPr lang="en-US" sz="1600">
              <a:ea typeface="+mn-lt"/>
              <a:cs typeface="+mn-lt"/>
            </a:endParaRP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31774E-5D23-A1E6-1DB9-B5DBFA74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522357"/>
          </a:xfrm>
        </p:spPr>
        <p:txBody>
          <a:bodyPr/>
          <a:lstStyle/>
          <a:p>
            <a:r>
              <a:rPr lang="en-US" sz="4000">
                <a:cs typeface="Calibri Light"/>
              </a:rPr>
              <a:t>Data Analysis: Recommendat</a:t>
            </a:r>
            <a:r>
              <a:rPr lang="en-US" sz="4000">
                <a:solidFill>
                  <a:schemeClr val="bg1"/>
                </a:solidFill>
                <a:cs typeface="Calibri Light"/>
              </a:rPr>
              <a:t>ion 3</a:t>
            </a:r>
            <a:endParaRPr lang="en-US" sz="4000">
              <a:solidFill>
                <a:schemeClr val="bg1"/>
              </a:solidFill>
            </a:endParaRPr>
          </a:p>
        </p:txBody>
      </p:sp>
      <p:pic>
        <p:nvPicPr>
          <p:cNvPr id="12" name="Picture 4" descr="Circle&#10;&#10;Description automatically generated">
            <a:extLst>
              <a:ext uri="{FF2B5EF4-FFF2-40B4-BE49-F238E27FC236}">
                <a16:creationId xmlns:a16="http://schemas.microsoft.com/office/drawing/2014/main" id="{C5857B70-CCA1-7C79-E979-F14A0A9BA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56" y="6279580"/>
            <a:ext cx="1792941" cy="340456"/>
          </a:xfrm>
          <a:prstGeom prst="rect">
            <a:avLst/>
          </a:prstGeom>
        </p:spPr>
      </p:pic>
      <p:pic>
        <p:nvPicPr>
          <p:cNvPr id="6" name="Picture 10" descr="Icon&#10;&#10;Description automatically generated">
            <a:extLst>
              <a:ext uri="{FF2B5EF4-FFF2-40B4-BE49-F238E27FC236}">
                <a16:creationId xmlns:a16="http://schemas.microsoft.com/office/drawing/2014/main" id="{690745C0-83E6-7E9F-1606-245D4CBA87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1217" y="1297664"/>
            <a:ext cx="962025" cy="952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AC28279-3FA5-AF48-EA8F-6F2B18981D6D}"/>
              </a:ext>
            </a:extLst>
          </p:cNvPr>
          <p:cNvSpPr/>
          <p:nvPr/>
        </p:nvSpPr>
        <p:spPr bwMode="gray">
          <a:xfrm>
            <a:off x="756973" y="2795953"/>
            <a:ext cx="1492180" cy="227764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9A66C5-9E09-8BF3-8E72-98A5A0F96290}"/>
              </a:ext>
            </a:extLst>
          </p:cNvPr>
          <p:cNvSpPr txBox="1"/>
          <p:nvPr/>
        </p:nvSpPr>
        <p:spPr>
          <a:xfrm>
            <a:off x="6878268" y="2398053"/>
            <a:ext cx="4919382" cy="27546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 b="1">
                <a:solidFill>
                  <a:schemeClr val="bg1"/>
                </a:solidFill>
                <a:cs typeface="Calibri"/>
              </a:rPr>
              <a:t>Insights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Entry point should be a high grossing genre that hasn't been overexposed from 2010-2018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While Action, Adventure, Sci-Fi is the highest grossing genre, it is an oversaturated one</a:t>
            </a:r>
            <a:endParaRPr lang="en-US">
              <a:solidFill>
                <a:schemeClr val="bg1"/>
              </a:solidFill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sz="2000">
                <a:solidFill>
                  <a:schemeClr val="bg1"/>
                </a:solidFill>
                <a:cs typeface="Calibri"/>
              </a:rPr>
              <a:t>Action, Adventure, Fantasy and Action, Crime, Drama are quality candidat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C15947-EB75-5D2E-F82F-CE9C08DF0A3F}"/>
              </a:ext>
            </a:extLst>
          </p:cNvPr>
          <p:cNvSpPr/>
          <p:nvPr/>
        </p:nvSpPr>
        <p:spPr bwMode="gray">
          <a:xfrm>
            <a:off x="756974" y="3474217"/>
            <a:ext cx="1492180" cy="227764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5" name="Picture 9" descr="Chart&#10;&#10;Description automatically generated">
            <a:extLst>
              <a:ext uri="{FF2B5EF4-FFF2-40B4-BE49-F238E27FC236}">
                <a16:creationId xmlns:a16="http://schemas.microsoft.com/office/drawing/2014/main" id="{F7A1C0E4-4C16-B056-584E-92675FD650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740" y="2042579"/>
            <a:ext cx="5707466" cy="3024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873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4</Slides>
  <Notes>6</Notes>
  <HiddenSlides>1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Deloitte Brand Theme</vt:lpstr>
      <vt:lpstr>Computing Vision Market Entry Strategy </vt:lpstr>
      <vt:lpstr>Meet the Team!</vt:lpstr>
      <vt:lpstr>Overview</vt:lpstr>
      <vt:lpstr>Film Industry Overview</vt:lpstr>
      <vt:lpstr>Key Questions</vt:lpstr>
      <vt:lpstr>Data Overview</vt:lpstr>
      <vt:lpstr>Data Analysis: Recommendation 1</vt:lpstr>
      <vt:lpstr>Data Analysis: Recommendation 2</vt:lpstr>
      <vt:lpstr>Data Analysis: Recommendation 3</vt:lpstr>
      <vt:lpstr>Data Analysis: Question 3 (cont.)</vt:lpstr>
      <vt:lpstr>Top 10 Genres with Grossing Genres</vt:lpstr>
      <vt:lpstr>Recommendations</vt:lpstr>
      <vt:lpstr>Next Steps</vt:lpstr>
      <vt:lpstr>Thank you!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8 Capstone Project </dc:title>
  <dc:creator>Saracho Sandin, Luis Fernando</dc:creator>
  <cp:revision>1</cp:revision>
  <dcterms:created xsi:type="dcterms:W3CDTF">2022-10-25T15:31:43Z</dcterms:created>
  <dcterms:modified xsi:type="dcterms:W3CDTF">2022-10-27T20:0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SiteId">
    <vt:lpwstr>36da45f1-dd2c-4d1f-af13-5abe46b99921</vt:lpwstr>
  </property>
  <property fmtid="{D5CDD505-2E9C-101B-9397-08002B2CF9AE}" pid="3" name="MSIP_Label_ea60d57e-af5b-4752-ac57-3e4f28ca11dc_Method">
    <vt:lpwstr>Standard</vt:lpwstr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etDate">
    <vt:lpwstr>2022-10-25T16:17:33Z</vt:lpwstr>
  </property>
  <property fmtid="{D5CDD505-2E9C-101B-9397-08002B2CF9AE}" pid="7" name="MSIP_Label_ea60d57e-af5b-4752-ac57-3e4f28ca11dc_ContentBits">
    <vt:lpwstr>0</vt:lpwstr>
  </property>
  <property fmtid="{D5CDD505-2E9C-101B-9397-08002B2CF9AE}" pid="8" name="MSIP_Label_ea60d57e-af5b-4752-ac57-3e4f28ca11dc_ActionId">
    <vt:lpwstr>8bbf7eef-530f-493e-a129-41ba9816bda9</vt:lpwstr>
  </property>
</Properties>
</file>